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57" r:id="rId2"/>
    <p:sldId id="260" r:id="rId3"/>
    <p:sldId id="262" r:id="rId4"/>
    <p:sldId id="269" r:id="rId5"/>
    <p:sldId id="264" r:id="rId6"/>
    <p:sldId id="261" r:id="rId7"/>
    <p:sldId id="265" r:id="rId8"/>
    <p:sldId id="266" r:id="rId9"/>
    <p:sldId id="267" r:id="rId10"/>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0" d="100"/>
          <a:sy n="70" d="100"/>
        </p:scale>
        <p:origin x="660" y="5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3674F8-9E9E-4685-A735-DABCCE2F2CB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tr-TR"/>
        </a:p>
      </dgm:t>
    </dgm:pt>
    <dgm:pt modelId="{FE3A9FD9-22DF-4054-B956-4E6F9AEBCE0E}">
      <dgm:prSet/>
      <dgm:spPr/>
      <dgm:t>
        <a:bodyPr/>
        <a:lstStyle/>
        <a:p>
          <a:pPr rtl="0"/>
          <a:r>
            <a:rPr lang="tr-TR" dirty="0" smtClean="0"/>
            <a:t>29.1 Motorlu kara taşıtlarının imalatı</a:t>
          </a:r>
          <a:endParaRPr lang="tr-TR" dirty="0"/>
        </a:p>
      </dgm:t>
    </dgm:pt>
    <dgm:pt modelId="{8A7E768F-F9C2-4C70-BB66-38B8C01E3C29}" type="parTrans" cxnId="{4D42C69D-F37D-4A8B-9384-63BC9F770691}">
      <dgm:prSet/>
      <dgm:spPr/>
      <dgm:t>
        <a:bodyPr/>
        <a:lstStyle/>
        <a:p>
          <a:endParaRPr lang="tr-TR"/>
        </a:p>
      </dgm:t>
    </dgm:pt>
    <dgm:pt modelId="{88136493-A5C5-443F-B3E1-F0EE6BFA4565}" type="sibTrans" cxnId="{4D42C69D-F37D-4A8B-9384-63BC9F770691}">
      <dgm:prSet/>
      <dgm:spPr/>
      <dgm:t>
        <a:bodyPr/>
        <a:lstStyle/>
        <a:p>
          <a:endParaRPr lang="tr-TR"/>
        </a:p>
      </dgm:t>
    </dgm:pt>
    <dgm:pt modelId="{28C2CC27-116C-4CCE-B417-754A042A820A}">
      <dgm:prSet/>
      <dgm:spPr/>
      <dgm:t>
        <a:bodyPr/>
        <a:lstStyle/>
        <a:p>
          <a:pPr rtl="0"/>
          <a:r>
            <a:rPr lang="tr-TR" dirty="0" smtClean="0"/>
            <a:t>29.3 Motorlu kara taşıtları için parça ve aksesuar imalatı</a:t>
          </a:r>
          <a:endParaRPr lang="tr-TR" dirty="0"/>
        </a:p>
      </dgm:t>
    </dgm:pt>
    <dgm:pt modelId="{704E9EB3-94F1-4B14-AE0B-57CF84CFB186}" type="parTrans" cxnId="{D71D9BE4-84E9-41FD-B279-AAFE0B5593DE}">
      <dgm:prSet/>
      <dgm:spPr/>
      <dgm:t>
        <a:bodyPr/>
        <a:lstStyle/>
        <a:p>
          <a:endParaRPr lang="tr-TR"/>
        </a:p>
      </dgm:t>
    </dgm:pt>
    <dgm:pt modelId="{F1D2890B-9890-4181-B8A7-3C43DF79E3B7}" type="sibTrans" cxnId="{D71D9BE4-84E9-41FD-B279-AAFE0B5593DE}">
      <dgm:prSet/>
      <dgm:spPr/>
      <dgm:t>
        <a:bodyPr/>
        <a:lstStyle/>
        <a:p>
          <a:endParaRPr lang="tr-TR"/>
        </a:p>
      </dgm:t>
    </dgm:pt>
    <dgm:pt modelId="{B85D41F7-D3DC-45D8-8587-146DD6195AFF}">
      <dgm:prSet/>
      <dgm:spPr/>
      <dgm:t>
        <a:bodyPr/>
        <a:lstStyle/>
        <a:p>
          <a:pPr rtl="0"/>
          <a:r>
            <a:rPr lang="tr-TR" dirty="0" smtClean="0"/>
            <a:t>27.2 Akümülatör ve pil imalatı</a:t>
          </a:r>
          <a:endParaRPr lang="tr-TR" dirty="0"/>
        </a:p>
      </dgm:t>
    </dgm:pt>
    <dgm:pt modelId="{C1B7EBA4-3116-421D-BB0B-955BFEF66CA7}" type="parTrans" cxnId="{B933C484-AD03-438B-9761-448BFFB016E1}">
      <dgm:prSet/>
      <dgm:spPr/>
      <dgm:t>
        <a:bodyPr/>
        <a:lstStyle/>
        <a:p>
          <a:endParaRPr lang="tr-TR"/>
        </a:p>
      </dgm:t>
    </dgm:pt>
    <dgm:pt modelId="{050FBE6E-50A6-4109-8A5E-20BDE41F59A1}" type="sibTrans" cxnId="{B933C484-AD03-438B-9761-448BFFB016E1}">
      <dgm:prSet/>
      <dgm:spPr/>
      <dgm:t>
        <a:bodyPr/>
        <a:lstStyle/>
        <a:p>
          <a:endParaRPr lang="tr-TR"/>
        </a:p>
      </dgm:t>
    </dgm:pt>
    <dgm:pt modelId="{7EA04785-A655-4C71-852A-D4D48AC10190}">
      <dgm:prSet/>
      <dgm:spPr/>
      <dgm:t>
        <a:bodyPr/>
        <a:lstStyle/>
        <a:p>
          <a:pPr rtl="0"/>
          <a:r>
            <a:rPr lang="tr-TR" dirty="0" smtClean="0"/>
            <a:t>Proje Konuları</a:t>
          </a:r>
          <a:endParaRPr lang="tr-TR" dirty="0"/>
        </a:p>
      </dgm:t>
    </dgm:pt>
    <dgm:pt modelId="{88A64CB4-67D1-4514-A6D9-511DA8F2A028}" type="parTrans" cxnId="{003A93A8-25FC-45BA-8F1E-BB269F5FC12B}">
      <dgm:prSet/>
      <dgm:spPr/>
      <dgm:t>
        <a:bodyPr/>
        <a:lstStyle/>
        <a:p>
          <a:endParaRPr lang="tr-TR"/>
        </a:p>
      </dgm:t>
    </dgm:pt>
    <dgm:pt modelId="{2FD91CC0-57A1-4CD8-95DA-E4D644D7B926}" type="sibTrans" cxnId="{003A93A8-25FC-45BA-8F1E-BB269F5FC12B}">
      <dgm:prSet/>
      <dgm:spPr/>
      <dgm:t>
        <a:bodyPr/>
        <a:lstStyle/>
        <a:p>
          <a:endParaRPr lang="tr-TR"/>
        </a:p>
      </dgm:t>
    </dgm:pt>
    <dgm:pt modelId="{880E4814-1CF1-41EE-A3EC-E5571EBE8012}">
      <dgm:prSet/>
      <dgm:spPr/>
      <dgm:t>
        <a:bodyPr/>
        <a:lstStyle/>
        <a:p>
          <a:pPr rtl="0"/>
          <a:r>
            <a:rPr lang="tr-TR" dirty="0" smtClean="0"/>
            <a:t>Otomotiv sektöründe kullanılmak üzere; </a:t>
          </a:r>
          <a:endParaRPr lang="tr-TR" dirty="0"/>
        </a:p>
      </dgm:t>
    </dgm:pt>
    <dgm:pt modelId="{88B6A9D4-1043-4E30-ADE7-E2A6B4F64BF5}" type="parTrans" cxnId="{F8674CDF-DF57-46A9-9EBE-A016A7BCC4D6}">
      <dgm:prSet/>
      <dgm:spPr/>
      <dgm:t>
        <a:bodyPr/>
        <a:lstStyle/>
        <a:p>
          <a:endParaRPr lang="tr-TR"/>
        </a:p>
      </dgm:t>
    </dgm:pt>
    <dgm:pt modelId="{AEB9DC11-E0BF-457B-9FC4-3917D37EC1FF}" type="sibTrans" cxnId="{F8674CDF-DF57-46A9-9EBE-A016A7BCC4D6}">
      <dgm:prSet/>
      <dgm:spPr/>
      <dgm:t>
        <a:bodyPr/>
        <a:lstStyle/>
        <a:p>
          <a:endParaRPr lang="tr-TR"/>
        </a:p>
      </dgm:t>
    </dgm:pt>
    <dgm:pt modelId="{ED94480A-9B6A-42DE-836F-C76DA16CFC08}">
      <dgm:prSet/>
      <dgm:spPr/>
      <dgm:t>
        <a:bodyPr/>
        <a:lstStyle/>
        <a:p>
          <a:pPr rtl="0"/>
          <a:r>
            <a:rPr lang="tr-TR" dirty="0" smtClean="0"/>
            <a:t>Elektrikli ve/veya hidrojen ile çalışan motorlu kara taşıtları</a:t>
          </a:r>
          <a:endParaRPr lang="tr-TR" dirty="0"/>
        </a:p>
      </dgm:t>
    </dgm:pt>
    <dgm:pt modelId="{095C094F-863D-4D49-93C6-5A020E614B6D}" type="parTrans" cxnId="{182BD769-75BF-4A1C-ABD8-D02005CF99C7}">
      <dgm:prSet/>
      <dgm:spPr/>
      <dgm:t>
        <a:bodyPr/>
        <a:lstStyle/>
        <a:p>
          <a:endParaRPr lang="tr-TR"/>
        </a:p>
      </dgm:t>
    </dgm:pt>
    <dgm:pt modelId="{CBD9E48E-82CF-407A-9388-6D4A48D75059}" type="sibTrans" cxnId="{182BD769-75BF-4A1C-ABD8-D02005CF99C7}">
      <dgm:prSet/>
      <dgm:spPr/>
      <dgm:t>
        <a:bodyPr/>
        <a:lstStyle/>
        <a:p>
          <a:endParaRPr lang="tr-TR"/>
        </a:p>
      </dgm:t>
    </dgm:pt>
    <dgm:pt modelId="{125A28AF-3115-4699-B616-415280662C19}">
      <dgm:prSet/>
      <dgm:spPr/>
      <dgm:t>
        <a:bodyPr/>
        <a:lstStyle/>
        <a:p>
          <a:pPr rtl="0"/>
          <a:r>
            <a:rPr lang="tr-TR" smtClean="0"/>
            <a:t>Pil (batarya) teknolojisi </a:t>
          </a:r>
          <a:endParaRPr lang="tr-TR"/>
        </a:p>
      </dgm:t>
    </dgm:pt>
    <dgm:pt modelId="{454BD3FE-4669-40A6-A147-940B3320720D}" type="parTrans" cxnId="{C60A08D9-A8F2-4108-8764-76C4C0B620DD}">
      <dgm:prSet/>
      <dgm:spPr/>
      <dgm:t>
        <a:bodyPr/>
        <a:lstStyle/>
        <a:p>
          <a:endParaRPr lang="tr-TR"/>
        </a:p>
      </dgm:t>
    </dgm:pt>
    <dgm:pt modelId="{089CE0FD-695E-4B8F-9D2A-5218A402868E}" type="sibTrans" cxnId="{C60A08D9-A8F2-4108-8764-76C4C0B620DD}">
      <dgm:prSet/>
      <dgm:spPr/>
      <dgm:t>
        <a:bodyPr/>
        <a:lstStyle/>
        <a:p>
          <a:endParaRPr lang="tr-TR"/>
        </a:p>
      </dgm:t>
    </dgm:pt>
    <dgm:pt modelId="{58F79ED6-3111-42E7-8229-3000C2E18583}">
      <dgm:prSet/>
      <dgm:spPr/>
      <dgm:t>
        <a:bodyPr/>
        <a:lstStyle/>
        <a:p>
          <a:pPr rtl="0"/>
          <a:r>
            <a:rPr lang="tr-TR" smtClean="0"/>
            <a:t>Yakıt hücresi</a:t>
          </a:r>
          <a:endParaRPr lang="tr-TR"/>
        </a:p>
      </dgm:t>
    </dgm:pt>
    <dgm:pt modelId="{04F85238-F453-4FCA-BA68-90B548B56D0B}" type="parTrans" cxnId="{4AB93703-1A0B-4243-9A08-FF490C4AEE10}">
      <dgm:prSet/>
      <dgm:spPr/>
      <dgm:t>
        <a:bodyPr/>
        <a:lstStyle/>
        <a:p>
          <a:endParaRPr lang="tr-TR"/>
        </a:p>
      </dgm:t>
    </dgm:pt>
    <dgm:pt modelId="{27F07450-DCC3-4EEF-AD7F-96DF7038B219}" type="sibTrans" cxnId="{4AB93703-1A0B-4243-9A08-FF490C4AEE10}">
      <dgm:prSet/>
      <dgm:spPr/>
      <dgm:t>
        <a:bodyPr/>
        <a:lstStyle/>
        <a:p>
          <a:endParaRPr lang="tr-TR"/>
        </a:p>
      </dgm:t>
    </dgm:pt>
    <dgm:pt modelId="{086089E6-1CF5-4E11-8B3C-6A1C1D99DFE2}">
      <dgm:prSet/>
      <dgm:spPr/>
      <dgm:t>
        <a:bodyPr/>
        <a:lstStyle/>
        <a:p>
          <a:pPr rtl="0"/>
          <a:r>
            <a:rPr lang="tr-TR" smtClean="0"/>
            <a:t>Sektörler</a:t>
          </a:r>
          <a:endParaRPr lang="tr-TR"/>
        </a:p>
      </dgm:t>
    </dgm:pt>
    <dgm:pt modelId="{449C768C-B1FC-4D6F-92D4-3B4D25F9FFC1}" type="parTrans" cxnId="{248E6182-E756-440D-9FBB-72864530DBCB}">
      <dgm:prSet/>
      <dgm:spPr/>
      <dgm:t>
        <a:bodyPr/>
        <a:lstStyle/>
        <a:p>
          <a:endParaRPr lang="tr-TR"/>
        </a:p>
      </dgm:t>
    </dgm:pt>
    <dgm:pt modelId="{F2B8D2D7-2065-4EFD-801A-17A9DB939038}" type="sibTrans" cxnId="{248E6182-E756-440D-9FBB-72864530DBCB}">
      <dgm:prSet/>
      <dgm:spPr/>
      <dgm:t>
        <a:bodyPr/>
        <a:lstStyle/>
        <a:p>
          <a:endParaRPr lang="tr-TR"/>
        </a:p>
      </dgm:t>
    </dgm:pt>
    <dgm:pt modelId="{05CE42DC-4CA1-4E84-816F-D56DC7A434A5}" type="pres">
      <dgm:prSet presAssocID="{B43674F8-9E9E-4685-A735-DABCCE2F2CB8}" presName="Name0" presStyleCnt="0">
        <dgm:presLayoutVars>
          <dgm:dir/>
          <dgm:animLvl val="lvl"/>
          <dgm:resizeHandles val="exact"/>
        </dgm:presLayoutVars>
      </dgm:prSet>
      <dgm:spPr/>
      <dgm:t>
        <a:bodyPr/>
        <a:lstStyle/>
        <a:p>
          <a:endParaRPr lang="tr-TR"/>
        </a:p>
      </dgm:t>
    </dgm:pt>
    <dgm:pt modelId="{7C8E486B-32FF-402F-8F7B-77B68BC87637}" type="pres">
      <dgm:prSet presAssocID="{086089E6-1CF5-4E11-8B3C-6A1C1D99DFE2}" presName="linNode" presStyleCnt="0"/>
      <dgm:spPr/>
    </dgm:pt>
    <dgm:pt modelId="{37B69EC3-81AB-4D1F-8FDD-C7AEE154F861}" type="pres">
      <dgm:prSet presAssocID="{086089E6-1CF5-4E11-8B3C-6A1C1D99DFE2}" presName="parentText" presStyleLbl="node1" presStyleIdx="0" presStyleCnt="2">
        <dgm:presLayoutVars>
          <dgm:chMax val="1"/>
          <dgm:bulletEnabled val="1"/>
        </dgm:presLayoutVars>
      </dgm:prSet>
      <dgm:spPr/>
      <dgm:t>
        <a:bodyPr/>
        <a:lstStyle/>
        <a:p>
          <a:endParaRPr lang="tr-TR"/>
        </a:p>
      </dgm:t>
    </dgm:pt>
    <dgm:pt modelId="{66C82036-A9B1-450A-BC23-9FA339F8D3E9}" type="pres">
      <dgm:prSet presAssocID="{086089E6-1CF5-4E11-8B3C-6A1C1D99DFE2}" presName="descendantText" presStyleLbl="alignAccFollowNode1" presStyleIdx="0" presStyleCnt="2">
        <dgm:presLayoutVars>
          <dgm:bulletEnabled val="1"/>
        </dgm:presLayoutVars>
      </dgm:prSet>
      <dgm:spPr/>
      <dgm:t>
        <a:bodyPr/>
        <a:lstStyle/>
        <a:p>
          <a:endParaRPr lang="tr-TR"/>
        </a:p>
      </dgm:t>
    </dgm:pt>
    <dgm:pt modelId="{814CDCAF-3D29-4E90-BA3A-7050C29F4268}" type="pres">
      <dgm:prSet presAssocID="{F2B8D2D7-2065-4EFD-801A-17A9DB939038}" presName="sp" presStyleCnt="0"/>
      <dgm:spPr/>
    </dgm:pt>
    <dgm:pt modelId="{DAC3BE2E-2FBA-4A2F-B1F6-D483F29A908B}" type="pres">
      <dgm:prSet presAssocID="{7EA04785-A655-4C71-852A-D4D48AC10190}" presName="linNode" presStyleCnt="0"/>
      <dgm:spPr/>
    </dgm:pt>
    <dgm:pt modelId="{83BB7CF0-2DEA-425D-8E23-B46027B17B78}" type="pres">
      <dgm:prSet presAssocID="{7EA04785-A655-4C71-852A-D4D48AC10190}" presName="parentText" presStyleLbl="node1" presStyleIdx="1" presStyleCnt="2">
        <dgm:presLayoutVars>
          <dgm:chMax val="1"/>
          <dgm:bulletEnabled val="1"/>
        </dgm:presLayoutVars>
      </dgm:prSet>
      <dgm:spPr/>
      <dgm:t>
        <a:bodyPr/>
        <a:lstStyle/>
        <a:p>
          <a:endParaRPr lang="tr-TR"/>
        </a:p>
      </dgm:t>
    </dgm:pt>
    <dgm:pt modelId="{B24C5350-30C4-4140-B8C4-C1EC74B45EC1}" type="pres">
      <dgm:prSet presAssocID="{7EA04785-A655-4C71-852A-D4D48AC10190}" presName="descendantText" presStyleLbl="alignAccFollowNode1" presStyleIdx="1" presStyleCnt="2">
        <dgm:presLayoutVars>
          <dgm:bulletEnabled val="1"/>
        </dgm:presLayoutVars>
      </dgm:prSet>
      <dgm:spPr/>
      <dgm:t>
        <a:bodyPr/>
        <a:lstStyle/>
        <a:p>
          <a:endParaRPr lang="tr-TR"/>
        </a:p>
      </dgm:t>
    </dgm:pt>
  </dgm:ptLst>
  <dgm:cxnLst>
    <dgm:cxn modelId="{248E6182-E756-440D-9FBB-72864530DBCB}" srcId="{B43674F8-9E9E-4685-A735-DABCCE2F2CB8}" destId="{086089E6-1CF5-4E11-8B3C-6A1C1D99DFE2}" srcOrd="0" destOrd="0" parTransId="{449C768C-B1FC-4D6F-92D4-3B4D25F9FFC1}" sibTransId="{F2B8D2D7-2065-4EFD-801A-17A9DB939038}"/>
    <dgm:cxn modelId="{F8674CDF-DF57-46A9-9EBE-A016A7BCC4D6}" srcId="{7EA04785-A655-4C71-852A-D4D48AC10190}" destId="{880E4814-1CF1-41EE-A3EC-E5571EBE8012}" srcOrd="0" destOrd="0" parTransId="{88B6A9D4-1043-4E30-ADE7-E2A6B4F64BF5}" sibTransId="{AEB9DC11-E0BF-457B-9FC4-3917D37EC1FF}"/>
    <dgm:cxn modelId="{5E4FD5DF-EF93-429C-8EFC-ABA36D0A8D1C}" type="presOf" srcId="{58F79ED6-3111-42E7-8229-3000C2E18583}" destId="{B24C5350-30C4-4140-B8C4-C1EC74B45EC1}" srcOrd="0" destOrd="3" presId="urn:microsoft.com/office/officeart/2005/8/layout/vList5"/>
    <dgm:cxn modelId="{82D46FA3-40A8-4C0A-B937-34ABCE1E8892}" type="presOf" srcId="{086089E6-1CF5-4E11-8B3C-6A1C1D99DFE2}" destId="{37B69EC3-81AB-4D1F-8FDD-C7AEE154F861}" srcOrd="0" destOrd="0" presId="urn:microsoft.com/office/officeart/2005/8/layout/vList5"/>
    <dgm:cxn modelId="{4D42C69D-F37D-4A8B-9384-63BC9F770691}" srcId="{086089E6-1CF5-4E11-8B3C-6A1C1D99DFE2}" destId="{FE3A9FD9-22DF-4054-B956-4E6F9AEBCE0E}" srcOrd="0" destOrd="0" parTransId="{8A7E768F-F9C2-4C70-BB66-38B8C01E3C29}" sibTransId="{88136493-A5C5-443F-B3E1-F0EE6BFA4565}"/>
    <dgm:cxn modelId="{B933C484-AD03-438B-9761-448BFFB016E1}" srcId="{086089E6-1CF5-4E11-8B3C-6A1C1D99DFE2}" destId="{B85D41F7-D3DC-45D8-8587-146DD6195AFF}" srcOrd="2" destOrd="0" parTransId="{C1B7EBA4-3116-421D-BB0B-955BFEF66CA7}" sibTransId="{050FBE6E-50A6-4109-8A5E-20BDE41F59A1}"/>
    <dgm:cxn modelId="{E463B01E-C89A-4C07-B534-EC4CCF7F7F7B}" type="presOf" srcId="{ED94480A-9B6A-42DE-836F-C76DA16CFC08}" destId="{B24C5350-30C4-4140-B8C4-C1EC74B45EC1}" srcOrd="0" destOrd="1" presId="urn:microsoft.com/office/officeart/2005/8/layout/vList5"/>
    <dgm:cxn modelId="{003A93A8-25FC-45BA-8F1E-BB269F5FC12B}" srcId="{B43674F8-9E9E-4685-A735-DABCCE2F2CB8}" destId="{7EA04785-A655-4C71-852A-D4D48AC10190}" srcOrd="1" destOrd="0" parTransId="{88A64CB4-67D1-4514-A6D9-511DA8F2A028}" sibTransId="{2FD91CC0-57A1-4CD8-95DA-E4D644D7B926}"/>
    <dgm:cxn modelId="{3731CE20-0B05-4AF0-A543-2C07CFFD8FA2}" type="presOf" srcId="{FE3A9FD9-22DF-4054-B956-4E6F9AEBCE0E}" destId="{66C82036-A9B1-450A-BC23-9FA339F8D3E9}" srcOrd="0" destOrd="0" presId="urn:microsoft.com/office/officeart/2005/8/layout/vList5"/>
    <dgm:cxn modelId="{324EFE90-1F1D-4BF0-855C-6ABE3E9AA572}" type="presOf" srcId="{B85D41F7-D3DC-45D8-8587-146DD6195AFF}" destId="{66C82036-A9B1-450A-BC23-9FA339F8D3E9}" srcOrd="0" destOrd="2" presId="urn:microsoft.com/office/officeart/2005/8/layout/vList5"/>
    <dgm:cxn modelId="{36275DE5-D2FA-408B-9C2E-A9782C4254DC}" type="presOf" srcId="{7EA04785-A655-4C71-852A-D4D48AC10190}" destId="{83BB7CF0-2DEA-425D-8E23-B46027B17B78}" srcOrd="0" destOrd="0" presId="urn:microsoft.com/office/officeart/2005/8/layout/vList5"/>
    <dgm:cxn modelId="{7A9F829D-FAF8-4353-A532-3D93B15F5D4F}" type="presOf" srcId="{28C2CC27-116C-4CCE-B417-754A042A820A}" destId="{66C82036-A9B1-450A-BC23-9FA339F8D3E9}" srcOrd="0" destOrd="1" presId="urn:microsoft.com/office/officeart/2005/8/layout/vList5"/>
    <dgm:cxn modelId="{762A085B-C512-4131-9BA6-611A7E2B7AC2}" type="presOf" srcId="{880E4814-1CF1-41EE-A3EC-E5571EBE8012}" destId="{B24C5350-30C4-4140-B8C4-C1EC74B45EC1}" srcOrd="0" destOrd="0" presId="urn:microsoft.com/office/officeart/2005/8/layout/vList5"/>
    <dgm:cxn modelId="{EDA9794A-E344-4E49-A315-83057A31CEFE}" type="presOf" srcId="{125A28AF-3115-4699-B616-415280662C19}" destId="{B24C5350-30C4-4140-B8C4-C1EC74B45EC1}" srcOrd="0" destOrd="2" presId="urn:microsoft.com/office/officeart/2005/8/layout/vList5"/>
    <dgm:cxn modelId="{C60A08D9-A8F2-4108-8764-76C4C0B620DD}" srcId="{7EA04785-A655-4C71-852A-D4D48AC10190}" destId="{125A28AF-3115-4699-B616-415280662C19}" srcOrd="2" destOrd="0" parTransId="{454BD3FE-4669-40A6-A147-940B3320720D}" sibTransId="{089CE0FD-695E-4B8F-9D2A-5218A402868E}"/>
    <dgm:cxn modelId="{D71D9BE4-84E9-41FD-B279-AAFE0B5593DE}" srcId="{086089E6-1CF5-4E11-8B3C-6A1C1D99DFE2}" destId="{28C2CC27-116C-4CCE-B417-754A042A820A}" srcOrd="1" destOrd="0" parTransId="{704E9EB3-94F1-4B14-AE0B-57CF84CFB186}" sibTransId="{F1D2890B-9890-4181-B8A7-3C43DF79E3B7}"/>
    <dgm:cxn modelId="{4AB93703-1A0B-4243-9A08-FF490C4AEE10}" srcId="{7EA04785-A655-4C71-852A-D4D48AC10190}" destId="{58F79ED6-3111-42E7-8229-3000C2E18583}" srcOrd="3" destOrd="0" parTransId="{04F85238-F453-4FCA-BA68-90B548B56D0B}" sibTransId="{27F07450-DCC3-4EEF-AD7F-96DF7038B219}"/>
    <dgm:cxn modelId="{182BD769-75BF-4A1C-ABD8-D02005CF99C7}" srcId="{7EA04785-A655-4C71-852A-D4D48AC10190}" destId="{ED94480A-9B6A-42DE-836F-C76DA16CFC08}" srcOrd="1" destOrd="0" parTransId="{095C094F-863D-4D49-93C6-5A020E614B6D}" sibTransId="{CBD9E48E-82CF-407A-9388-6D4A48D75059}"/>
    <dgm:cxn modelId="{753D3394-D3FD-466E-9D1C-ACC5A29D6C0B}" type="presOf" srcId="{B43674F8-9E9E-4685-A735-DABCCE2F2CB8}" destId="{05CE42DC-4CA1-4E84-816F-D56DC7A434A5}" srcOrd="0" destOrd="0" presId="urn:microsoft.com/office/officeart/2005/8/layout/vList5"/>
    <dgm:cxn modelId="{A62E453A-7451-4EE5-BCFF-93811C9A6D7A}" type="presParOf" srcId="{05CE42DC-4CA1-4E84-816F-D56DC7A434A5}" destId="{7C8E486B-32FF-402F-8F7B-77B68BC87637}" srcOrd="0" destOrd="0" presId="urn:microsoft.com/office/officeart/2005/8/layout/vList5"/>
    <dgm:cxn modelId="{6024B1BD-2936-45F9-9395-795CA371BB71}" type="presParOf" srcId="{7C8E486B-32FF-402F-8F7B-77B68BC87637}" destId="{37B69EC3-81AB-4D1F-8FDD-C7AEE154F861}" srcOrd="0" destOrd="0" presId="urn:microsoft.com/office/officeart/2005/8/layout/vList5"/>
    <dgm:cxn modelId="{ADED27AD-0348-4AF2-A5A1-7E2C6B55F119}" type="presParOf" srcId="{7C8E486B-32FF-402F-8F7B-77B68BC87637}" destId="{66C82036-A9B1-450A-BC23-9FA339F8D3E9}" srcOrd="1" destOrd="0" presId="urn:microsoft.com/office/officeart/2005/8/layout/vList5"/>
    <dgm:cxn modelId="{C451D7B0-037F-4F6B-8FFE-3715D831A170}" type="presParOf" srcId="{05CE42DC-4CA1-4E84-816F-D56DC7A434A5}" destId="{814CDCAF-3D29-4E90-BA3A-7050C29F4268}" srcOrd="1" destOrd="0" presId="urn:microsoft.com/office/officeart/2005/8/layout/vList5"/>
    <dgm:cxn modelId="{7B75E444-9F15-4629-B9A6-0C360C706017}" type="presParOf" srcId="{05CE42DC-4CA1-4E84-816F-D56DC7A434A5}" destId="{DAC3BE2E-2FBA-4A2F-B1F6-D483F29A908B}" srcOrd="2" destOrd="0" presId="urn:microsoft.com/office/officeart/2005/8/layout/vList5"/>
    <dgm:cxn modelId="{2CA8F2F9-9051-495B-AC36-F4F28BE235E3}" type="presParOf" srcId="{DAC3BE2E-2FBA-4A2F-B1F6-D483F29A908B}" destId="{83BB7CF0-2DEA-425D-8E23-B46027B17B78}" srcOrd="0" destOrd="0" presId="urn:microsoft.com/office/officeart/2005/8/layout/vList5"/>
    <dgm:cxn modelId="{FBBE2205-2AAA-48A5-A2CF-D2E7506E8BE5}" type="presParOf" srcId="{DAC3BE2E-2FBA-4A2F-B1F6-D483F29A908B}" destId="{B24C5350-30C4-4140-B8C4-C1EC74B45EC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609BD0A-DE9B-45F6-85C8-4BC465A287FD}" type="doc">
      <dgm:prSet loTypeId="urn:microsoft.com/office/officeart/2005/8/layout/vList5" loCatId="list" qsTypeId="urn:microsoft.com/office/officeart/2005/8/quickstyle/simple1" qsCatId="simple" csTypeId="urn:microsoft.com/office/officeart/2005/8/colors/accent1_2" csCatId="accent1"/>
      <dgm:spPr/>
      <dgm:t>
        <a:bodyPr/>
        <a:lstStyle/>
        <a:p>
          <a:endParaRPr lang="tr-TR"/>
        </a:p>
      </dgm:t>
    </dgm:pt>
    <dgm:pt modelId="{2A71EE31-61FD-4F05-87B3-59A7855EA295}">
      <dgm:prSet/>
      <dgm:spPr/>
      <dgm:t>
        <a:bodyPr/>
        <a:lstStyle/>
        <a:p>
          <a:pPr rtl="0"/>
          <a:r>
            <a:rPr lang="tr-TR" smtClean="0"/>
            <a:t>Sektörler</a:t>
          </a:r>
          <a:endParaRPr lang="tr-TR"/>
        </a:p>
      </dgm:t>
    </dgm:pt>
    <dgm:pt modelId="{BF9D62B6-C068-45E8-9F06-FF87A85D33B1}" type="parTrans" cxnId="{C075677A-FCB0-4581-A8CA-3938A5EA08E7}">
      <dgm:prSet/>
      <dgm:spPr/>
      <dgm:t>
        <a:bodyPr/>
        <a:lstStyle/>
        <a:p>
          <a:endParaRPr lang="tr-TR"/>
        </a:p>
      </dgm:t>
    </dgm:pt>
    <dgm:pt modelId="{3CE2EB45-C932-46CF-9700-940BBEE60766}" type="sibTrans" cxnId="{C075677A-FCB0-4581-A8CA-3938A5EA08E7}">
      <dgm:prSet/>
      <dgm:spPr/>
      <dgm:t>
        <a:bodyPr/>
        <a:lstStyle/>
        <a:p>
          <a:endParaRPr lang="tr-TR"/>
        </a:p>
      </dgm:t>
    </dgm:pt>
    <dgm:pt modelId="{C7BDB82A-27A4-4622-BA50-41A373B00E3B}">
      <dgm:prSet/>
      <dgm:spPr/>
      <dgm:t>
        <a:bodyPr/>
        <a:lstStyle/>
        <a:p>
          <a:pPr rtl="0"/>
          <a:r>
            <a:rPr lang="tr-TR" smtClean="0"/>
            <a:t>26.1 Elektronik bileşenlerin ve devre kartlarının imalatı</a:t>
          </a:r>
          <a:endParaRPr lang="tr-TR"/>
        </a:p>
      </dgm:t>
    </dgm:pt>
    <dgm:pt modelId="{6BA6116B-D089-414D-9090-C2F30059A550}" type="parTrans" cxnId="{18B86DA1-B731-4558-A7D3-922EC010E752}">
      <dgm:prSet/>
      <dgm:spPr/>
      <dgm:t>
        <a:bodyPr/>
        <a:lstStyle/>
        <a:p>
          <a:endParaRPr lang="tr-TR"/>
        </a:p>
      </dgm:t>
    </dgm:pt>
    <dgm:pt modelId="{816E6E6C-7AC8-452D-9DE6-CB260E84C211}" type="sibTrans" cxnId="{18B86DA1-B731-4558-A7D3-922EC010E752}">
      <dgm:prSet/>
      <dgm:spPr/>
      <dgm:t>
        <a:bodyPr/>
        <a:lstStyle/>
        <a:p>
          <a:endParaRPr lang="tr-TR"/>
        </a:p>
      </dgm:t>
    </dgm:pt>
    <dgm:pt modelId="{42194A38-9728-4E64-8F9F-DAAFE4007A88}">
      <dgm:prSet/>
      <dgm:spPr/>
      <dgm:t>
        <a:bodyPr/>
        <a:lstStyle/>
        <a:p>
          <a:pPr rtl="0"/>
          <a:r>
            <a:rPr lang="tr-TR" smtClean="0"/>
            <a:t>26.3 İletişim ekipmanlarının imalatı</a:t>
          </a:r>
          <a:endParaRPr lang="tr-TR"/>
        </a:p>
      </dgm:t>
    </dgm:pt>
    <dgm:pt modelId="{A01950E6-FD1E-45E3-836D-0DCBE8CC14F3}" type="parTrans" cxnId="{860DA613-681C-4507-AB0B-6AC2C9E962D5}">
      <dgm:prSet/>
      <dgm:spPr/>
      <dgm:t>
        <a:bodyPr/>
        <a:lstStyle/>
        <a:p>
          <a:endParaRPr lang="tr-TR"/>
        </a:p>
      </dgm:t>
    </dgm:pt>
    <dgm:pt modelId="{6EBBFC44-68B9-449A-A669-F0059026F351}" type="sibTrans" cxnId="{860DA613-681C-4507-AB0B-6AC2C9E962D5}">
      <dgm:prSet/>
      <dgm:spPr/>
      <dgm:t>
        <a:bodyPr/>
        <a:lstStyle/>
        <a:p>
          <a:endParaRPr lang="tr-TR"/>
        </a:p>
      </dgm:t>
    </dgm:pt>
    <dgm:pt modelId="{3C14BB7A-55E1-4EEE-816C-26C6D7F93200}">
      <dgm:prSet/>
      <dgm:spPr/>
      <dgm:t>
        <a:bodyPr/>
        <a:lstStyle/>
        <a:p>
          <a:pPr rtl="0"/>
          <a:r>
            <a:rPr lang="tr-TR" dirty="0" smtClean="0"/>
            <a:t>26.4 Tüketici elektroniği ürünlerinin imalatı</a:t>
          </a:r>
          <a:endParaRPr lang="tr-TR" dirty="0"/>
        </a:p>
      </dgm:t>
    </dgm:pt>
    <dgm:pt modelId="{4405918F-18C3-4CCC-8DF6-7D48A5499C5F}" type="parTrans" cxnId="{3F4DE4CB-38E0-4CF7-BF8F-4BC3CA14295E}">
      <dgm:prSet/>
      <dgm:spPr/>
      <dgm:t>
        <a:bodyPr/>
        <a:lstStyle/>
        <a:p>
          <a:endParaRPr lang="tr-TR"/>
        </a:p>
      </dgm:t>
    </dgm:pt>
    <dgm:pt modelId="{7F835B42-86A0-4C5D-87C4-8802712D3735}" type="sibTrans" cxnId="{3F4DE4CB-38E0-4CF7-BF8F-4BC3CA14295E}">
      <dgm:prSet/>
      <dgm:spPr/>
      <dgm:t>
        <a:bodyPr/>
        <a:lstStyle/>
        <a:p>
          <a:endParaRPr lang="tr-TR"/>
        </a:p>
      </dgm:t>
    </dgm:pt>
    <dgm:pt modelId="{CEAC1619-54CA-4B37-8562-A952D9F07C8D}">
      <dgm:prSet/>
      <dgm:spPr/>
      <dgm:t>
        <a:bodyPr/>
        <a:lstStyle/>
        <a:p>
          <a:pPr rtl="0"/>
          <a:r>
            <a:rPr lang="tr-TR" smtClean="0"/>
            <a:t>26.5 Ölçme, test ve seyrüsefer amaçlı alet ve cihazlar ile saat imalatı (26.52 Kol saatlerinin, masa ve duvar saatlerinin ve benzerlerinin imalatı hariçtir.)</a:t>
          </a:r>
          <a:endParaRPr lang="tr-TR"/>
        </a:p>
      </dgm:t>
    </dgm:pt>
    <dgm:pt modelId="{C8086EBC-855D-4577-9157-ADD47F4E8BEB}" type="parTrans" cxnId="{38FE9C09-5DEB-4E81-8C11-01801118DEF0}">
      <dgm:prSet/>
      <dgm:spPr/>
      <dgm:t>
        <a:bodyPr/>
        <a:lstStyle/>
        <a:p>
          <a:endParaRPr lang="tr-TR"/>
        </a:p>
      </dgm:t>
    </dgm:pt>
    <dgm:pt modelId="{532AA693-8E97-44C2-BFC3-F687E197C5CD}" type="sibTrans" cxnId="{38FE9C09-5DEB-4E81-8C11-01801118DEF0}">
      <dgm:prSet/>
      <dgm:spPr/>
      <dgm:t>
        <a:bodyPr/>
        <a:lstStyle/>
        <a:p>
          <a:endParaRPr lang="tr-TR"/>
        </a:p>
      </dgm:t>
    </dgm:pt>
    <dgm:pt modelId="{513B4810-1F70-4ECB-8C81-7455EFF8EDE7}">
      <dgm:prSet/>
      <dgm:spPr/>
      <dgm:t>
        <a:bodyPr/>
        <a:lstStyle/>
        <a:p>
          <a:pPr rtl="0"/>
          <a:r>
            <a:rPr lang="tr-TR" smtClean="0"/>
            <a:t>Proje konuları</a:t>
          </a:r>
          <a:endParaRPr lang="tr-TR"/>
        </a:p>
      </dgm:t>
    </dgm:pt>
    <dgm:pt modelId="{DA85C981-81F5-4EE5-B278-5048C17DC9DA}" type="parTrans" cxnId="{5E3036F5-DB0D-4D00-93AE-E143FBE41C1D}">
      <dgm:prSet/>
      <dgm:spPr/>
      <dgm:t>
        <a:bodyPr/>
        <a:lstStyle/>
        <a:p>
          <a:endParaRPr lang="tr-TR"/>
        </a:p>
      </dgm:t>
    </dgm:pt>
    <dgm:pt modelId="{88399E98-25B9-4014-843A-2202C47CA8EB}" type="sibTrans" cxnId="{5E3036F5-DB0D-4D00-93AE-E143FBE41C1D}">
      <dgm:prSet/>
      <dgm:spPr/>
      <dgm:t>
        <a:bodyPr/>
        <a:lstStyle/>
        <a:p>
          <a:endParaRPr lang="tr-TR"/>
        </a:p>
      </dgm:t>
    </dgm:pt>
    <dgm:pt modelId="{9F76A7E2-3B18-4F51-9F6F-6386C990FA64}">
      <dgm:prSet/>
      <dgm:spPr/>
      <dgm:t>
        <a:bodyPr/>
        <a:lstStyle/>
        <a:p>
          <a:pPr rtl="0"/>
          <a:r>
            <a:rPr lang="tr-TR" smtClean="0"/>
            <a:t>5G ve ötesi teknolojiler dâhil olmak üzere yerli elektronik haberleşme şebeke ve altyapı bileşenleri kapsamında yeni nesil mobil haberleşme teknolojileri konularında</a:t>
          </a:r>
          <a:endParaRPr lang="tr-TR"/>
        </a:p>
      </dgm:t>
    </dgm:pt>
    <dgm:pt modelId="{E10FAA79-C25D-49A7-B274-FF50AB672EB6}" type="parTrans" cxnId="{284A6A61-A14E-47D1-BD17-C4990B0999ED}">
      <dgm:prSet/>
      <dgm:spPr/>
      <dgm:t>
        <a:bodyPr/>
        <a:lstStyle/>
        <a:p>
          <a:endParaRPr lang="tr-TR"/>
        </a:p>
      </dgm:t>
    </dgm:pt>
    <dgm:pt modelId="{44843929-3CAC-4063-A2DB-81342995D24B}" type="sibTrans" cxnId="{284A6A61-A14E-47D1-BD17-C4990B0999ED}">
      <dgm:prSet/>
      <dgm:spPr/>
      <dgm:t>
        <a:bodyPr/>
        <a:lstStyle/>
        <a:p>
          <a:endParaRPr lang="tr-TR"/>
        </a:p>
      </dgm:t>
    </dgm:pt>
    <dgm:pt modelId="{5682C049-CC55-4CB5-8825-95A9F399B87B}" type="pres">
      <dgm:prSet presAssocID="{3609BD0A-DE9B-45F6-85C8-4BC465A287FD}" presName="Name0" presStyleCnt="0">
        <dgm:presLayoutVars>
          <dgm:dir/>
          <dgm:animLvl val="lvl"/>
          <dgm:resizeHandles val="exact"/>
        </dgm:presLayoutVars>
      </dgm:prSet>
      <dgm:spPr/>
      <dgm:t>
        <a:bodyPr/>
        <a:lstStyle/>
        <a:p>
          <a:endParaRPr lang="tr-TR"/>
        </a:p>
      </dgm:t>
    </dgm:pt>
    <dgm:pt modelId="{ACD52661-358C-47B9-A57E-D4BF4F0D1A80}" type="pres">
      <dgm:prSet presAssocID="{2A71EE31-61FD-4F05-87B3-59A7855EA295}" presName="linNode" presStyleCnt="0"/>
      <dgm:spPr/>
    </dgm:pt>
    <dgm:pt modelId="{4A75293F-9858-4D77-B36B-53E16A68F664}" type="pres">
      <dgm:prSet presAssocID="{2A71EE31-61FD-4F05-87B3-59A7855EA295}" presName="parentText" presStyleLbl="node1" presStyleIdx="0" presStyleCnt="2">
        <dgm:presLayoutVars>
          <dgm:chMax val="1"/>
          <dgm:bulletEnabled val="1"/>
        </dgm:presLayoutVars>
      </dgm:prSet>
      <dgm:spPr/>
      <dgm:t>
        <a:bodyPr/>
        <a:lstStyle/>
        <a:p>
          <a:endParaRPr lang="tr-TR"/>
        </a:p>
      </dgm:t>
    </dgm:pt>
    <dgm:pt modelId="{1535F795-756F-4A87-ABBE-4A30A612A0BA}" type="pres">
      <dgm:prSet presAssocID="{2A71EE31-61FD-4F05-87B3-59A7855EA295}" presName="descendantText" presStyleLbl="alignAccFollowNode1" presStyleIdx="0" presStyleCnt="2">
        <dgm:presLayoutVars>
          <dgm:bulletEnabled val="1"/>
        </dgm:presLayoutVars>
      </dgm:prSet>
      <dgm:spPr/>
      <dgm:t>
        <a:bodyPr/>
        <a:lstStyle/>
        <a:p>
          <a:endParaRPr lang="tr-TR"/>
        </a:p>
      </dgm:t>
    </dgm:pt>
    <dgm:pt modelId="{10C59167-6300-4A4D-B328-BFF685EC9AF1}" type="pres">
      <dgm:prSet presAssocID="{3CE2EB45-C932-46CF-9700-940BBEE60766}" presName="sp" presStyleCnt="0"/>
      <dgm:spPr/>
    </dgm:pt>
    <dgm:pt modelId="{5B96A7A2-C689-498B-A321-C50578A663C8}" type="pres">
      <dgm:prSet presAssocID="{513B4810-1F70-4ECB-8C81-7455EFF8EDE7}" presName="linNode" presStyleCnt="0"/>
      <dgm:spPr/>
    </dgm:pt>
    <dgm:pt modelId="{9AA56EC3-78A3-4859-9869-A48344750A3D}" type="pres">
      <dgm:prSet presAssocID="{513B4810-1F70-4ECB-8C81-7455EFF8EDE7}" presName="parentText" presStyleLbl="node1" presStyleIdx="1" presStyleCnt="2">
        <dgm:presLayoutVars>
          <dgm:chMax val="1"/>
          <dgm:bulletEnabled val="1"/>
        </dgm:presLayoutVars>
      </dgm:prSet>
      <dgm:spPr/>
      <dgm:t>
        <a:bodyPr/>
        <a:lstStyle/>
        <a:p>
          <a:endParaRPr lang="tr-TR"/>
        </a:p>
      </dgm:t>
    </dgm:pt>
    <dgm:pt modelId="{8588E5F4-A690-4F39-9CEB-F7413C45F47D}" type="pres">
      <dgm:prSet presAssocID="{513B4810-1F70-4ECB-8C81-7455EFF8EDE7}" presName="descendantText" presStyleLbl="alignAccFollowNode1" presStyleIdx="1" presStyleCnt="2">
        <dgm:presLayoutVars>
          <dgm:bulletEnabled val="1"/>
        </dgm:presLayoutVars>
      </dgm:prSet>
      <dgm:spPr/>
      <dgm:t>
        <a:bodyPr/>
        <a:lstStyle/>
        <a:p>
          <a:endParaRPr lang="tr-TR"/>
        </a:p>
      </dgm:t>
    </dgm:pt>
  </dgm:ptLst>
  <dgm:cxnLst>
    <dgm:cxn modelId="{860DA613-681C-4507-AB0B-6AC2C9E962D5}" srcId="{2A71EE31-61FD-4F05-87B3-59A7855EA295}" destId="{42194A38-9728-4E64-8F9F-DAAFE4007A88}" srcOrd="1" destOrd="0" parTransId="{A01950E6-FD1E-45E3-836D-0DCBE8CC14F3}" sibTransId="{6EBBFC44-68B9-449A-A669-F0059026F351}"/>
    <dgm:cxn modelId="{1430AFEB-F8CB-4743-B70B-63EACB51D00B}" type="presOf" srcId="{9F76A7E2-3B18-4F51-9F6F-6386C990FA64}" destId="{8588E5F4-A690-4F39-9CEB-F7413C45F47D}" srcOrd="0" destOrd="0" presId="urn:microsoft.com/office/officeart/2005/8/layout/vList5"/>
    <dgm:cxn modelId="{308D5902-D13D-4A67-9704-0218E6B0DBC4}" type="presOf" srcId="{CEAC1619-54CA-4B37-8562-A952D9F07C8D}" destId="{1535F795-756F-4A87-ABBE-4A30A612A0BA}" srcOrd="0" destOrd="3" presId="urn:microsoft.com/office/officeart/2005/8/layout/vList5"/>
    <dgm:cxn modelId="{555ADCA2-1386-4630-82CD-EAE1AA066B10}" type="presOf" srcId="{42194A38-9728-4E64-8F9F-DAAFE4007A88}" destId="{1535F795-756F-4A87-ABBE-4A30A612A0BA}" srcOrd="0" destOrd="1" presId="urn:microsoft.com/office/officeart/2005/8/layout/vList5"/>
    <dgm:cxn modelId="{38FE9C09-5DEB-4E81-8C11-01801118DEF0}" srcId="{2A71EE31-61FD-4F05-87B3-59A7855EA295}" destId="{CEAC1619-54CA-4B37-8562-A952D9F07C8D}" srcOrd="3" destOrd="0" parTransId="{C8086EBC-855D-4577-9157-ADD47F4E8BEB}" sibTransId="{532AA693-8E97-44C2-BFC3-F687E197C5CD}"/>
    <dgm:cxn modelId="{37CD7144-985B-4A0F-95B3-B2E3A44CB00B}" type="presOf" srcId="{3609BD0A-DE9B-45F6-85C8-4BC465A287FD}" destId="{5682C049-CC55-4CB5-8825-95A9F399B87B}" srcOrd="0" destOrd="0" presId="urn:microsoft.com/office/officeart/2005/8/layout/vList5"/>
    <dgm:cxn modelId="{5E3036F5-DB0D-4D00-93AE-E143FBE41C1D}" srcId="{3609BD0A-DE9B-45F6-85C8-4BC465A287FD}" destId="{513B4810-1F70-4ECB-8C81-7455EFF8EDE7}" srcOrd="1" destOrd="0" parTransId="{DA85C981-81F5-4EE5-B278-5048C17DC9DA}" sibTransId="{88399E98-25B9-4014-843A-2202C47CA8EB}"/>
    <dgm:cxn modelId="{C075677A-FCB0-4581-A8CA-3938A5EA08E7}" srcId="{3609BD0A-DE9B-45F6-85C8-4BC465A287FD}" destId="{2A71EE31-61FD-4F05-87B3-59A7855EA295}" srcOrd="0" destOrd="0" parTransId="{BF9D62B6-C068-45E8-9F06-FF87A85D33B1}" sibTransId="{3CE2EB45-C932-46CF-9700-940BBEE60766}"/>
    <dgm:cxn modelId="{1163978D-1402-4A83-9CCD-2D5432B5299B}" type="presOf" srcId="{C7BDB82A-27A4-4622-BA50-41A373B00E3B}" destId="{1535F795-756F-4A87-ABBE-4A30A612A0BA}" srcOrd="0" destOrd="0" presId="urn:microsoft.com/office/officeart/2005/8/layout/vList5"/>
    <dgm:cxn modelId="{18B86DA1-B731-4558-A7D3-922EC010E752}" srcId="{2A71EE31-61FD-4F05-87B3-59A7855EA295}" destId="{C7BDB82A-27A4-4622-BA50-41A373B00E3B}" srcOrd="0" destOrd="0" parTransId="{6BA6116B-D089-414D-9090-C2F30059A550}" sibTransId="{816E6E6C-7AC8-452D-9DE6-CB260E84C211}"/>
    <dgm:cxn modelId="{3F4DE4CB-38E0-4CF7-BF8F-4BC3CA14295E}" srcId="{2A71EE31-61FD-4F05-87B3-59A7855EA295}" destId="{3C14BB7A-55E1-4EEE-816C-26C6D7F93200}" srcOrd="2" destOrd="0" parTransId="{4405918F-18C3-4CCC-8DF6-7D48A5499C5F}" sibTransId="{7F835B42-86A0-4C5D-87C4-8802712D3735}"/>
    <dgm:cxn modelId="{452A01F3-22B5-4F41-9761-F62978EF6D79}" type="presOf" srcId="{2A71EE31-61FD-4F05-87B3-59A7855EA295}" destId="{4A75293F-9858-4D77-B36B-53E16A68F664}" srcOrd="0" destOrd="0" presId="urn:microsoft.com/office/officeart/2005/8/layout/vList5"/>
    <dgm:cxn modelId="{284A6A61-A14E-47D1-BD17-C4990B0999ED}" srcId="{513B4810-1F70-4ECB-8C81-7455EFF8EDE7}" destId="{9F76A7E2-3B18-4F51-9F6F-6386C990FA64}" srcOrd="0" destOrd="0" parTransId="{E10FAA79-C25D-49A7-B274-FF50AB672EB6}" sibTransId="{44843929-3CAC-4063-A2DB-81342995D24B}"/>
    <dgm:cxn modelId="{D2B89879-992F-469A-8B9C-EC7310C09360}" type="presOf" srcId="{513B4810-1F70-4ECB-8C81-7455EFF8EDE7}" destId="{9AA56EC3-78A3-4859-9869-A48344750A3D}" srcOrd="0" destOrd="0" presId="urn:microsoft.com/office/officeart/2005/8/layout/vList5"/>
    <dgm:cxn modelId="{7CAD7997-3E16-4F41-A6CD-AEC57A392D2B}" type="presOf" srcId="{3C14BB7A-55E1-4EEE-816C-26C6D7F93200}" destId="{1535F795-756F-4A87-ABBE-4A30A612A0BA}" srcOrd="0" destOrd="2" presId="urn:microsoft.com/office/officeart/2005/8/layout/vList5"/>
    <dgm:cxn modelId="{05683BDB-665E-4421-8E95-31EA317CFE61}" type="presParOf" srcId="{5682C049-CC55-4CB5-8825-95A9F399B87B}" destId="{ACD52661-358C-47B9-A57E-D4BF4F0D1A80}" srcOrd="0" destOrd="0" presId="urn:microsoft.com/office/officeart/2005/8/layout/vList5"/>
    <dgm:cxn modelId="{5F1547EB-6CE1-44DF-9BB9-3028E8B54F24}" type="presParOf" srcId="{ACD52661-358C-47B9-A57E-D4BF4F0D1A80}" destId="{4A75293F-9858-4D77-B36B-53E16A68F664}" srcOrd="0" destOrd="0" presId="urn:microsoft.com/office/officeart/2005/8/layout/vList5"/>
    <dgm:cxn modelId="{D6ACA5B1-9332-49C6-A3E3-90C0519DB1EF}" type="presParOf" srcId="{ACD52661-358C-47B9-A57E-D4BF4F0D1A80}" destId="{1535F795-756F-4A87-ABBE-4A30A612A0BA}" srcOrd="1" destOrd="0" presId="urn:microsoft.com/office/officeart/2005/8/layout/vList5"/>
    <dgm:cxn modelId="{93C66D8E-7C61-461F-B7DD-210479ABAEE3}" type="presParOf" srcId="{5682C049-CC55-4CB5-8825-95A9F399B87B}" destId="{10C59167-6300-4A4D-B328-BFF685EC9AF1}" srcOrd="1" destOrd="0" presId="urn:microsoft.com/office/officeart/2005/8/layout/vList5"/>
    <dgm:cxn modelId="{73FDAE0A-6A02-45DF-ADF7-911B76E25B90}" type="presParOf" srcId="{5682C049-CC55-4CB5-8825-95A9F399B87B}" destId="{5B96A7A2-C689-498B-A321-C50578A663C8}" srcOrd="2" destOrd="0" presId="urn:microsoft.com/office/officeart/2005/8/layout/vList5"/>
    <dgm:cxn modelId="{6E97B94B-D3D6-4B32-BCAE-651AD7234C16}" type="presParOf" srcId="{5B96A7A2-C689-498B-A321-C50578A663C8}" destId="{9AA56EC3-78A3-4859-9869-A48344750A3D}" srcOrd="0" destOrd="0" presId="urn:microsoft.com/office/officeart/2005/8/layout/vList5"/>
    <dgm:cxn modelId="{BC904FBB-97D1-477B-8926-69CCDF617622}" type="presParOf" srcId="{5B96A7A2-C689-498B-A321-C50578A663C8}" destId="{8588E5F4-A690-4F39-9CEB-F7413C45F47D}"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82036-A9B1-450A-BC23-9FA339F8D3E9}">
      <dsp:nvSpPr>
        <dsp:cNvPr id="0" name=""/>
        <dsp:cNvSpPr/>
      </dsp:nvSpPr>
      <dsp:spPr>
        <a:xfrm rot="5400000">
          <a:off x="2865389" y="-605494"/>
          <a:ext cx="1906218" cy="359388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rtl="0">
            <a:lnSpc>
              <a:spcPct val="90000"/>
            </a:lnSpc>
            <a:spcBef>
              <a:spcPct val="0"/>
            </a:spcBef>
            <a:spcAft>
              <a:spcPct val="15000"/>
            </a:spcAft>
            <a:buChar char="••"/>
          </a:pPr>
          <a:r>
            <a:rPr lang="tr-TR" sz="1800" kern="1200" dirty="0" smtClean="0"/>
            <a:t>29.1 Motorlu kara taşıtlarının imalatı</a:t>
          </a:r>
          <a:endParaRPr lang="tr-TR" sz="1800" kern="1200" dirty="0"/>
        </a:p>
        <a:p>
          <a:pPr marL="171450" lvl="1" indent="-171450" algn="l" defTabSz="800100" rtl="0">
            <a:lnSpc>
              <a:spcPct val="90000"/>
            </a:lnSpc>
            <a:spcBef>
              <a:spcPct val="0"/>
            </a:spcBef>
            <a:spcAft>
              <a:spcPct val="15000"/>
            </a:spcAft>
            <a:buChar char="••"/>
          </a:pPr>
          <a:r>
            <a:rPr lang="tr-TR" sz="1800" kern="1200" dirty="0" smtClean="0"/>
            <a:t>29.3 Motorlu kara taşıtları için parça ve aksesuar imalatı</a:t>
          </a:r>
          <a:endParaRPr lang="tr-TR" sz="1800" kern="1200" dirty="0"/>
        </a:p>
        <a:p>
          <a:pPr marL="171450" lvl="1" indent="-171450" algn="l" defTabSz="800100" rtl="0">
            <a:lnSpc>
              <a:spcPct val="90000"/>
            </a:lnSpc>
            <a:spcBef>
              <a:spcPct val="0"/>
            </a:spcBef>
            <a:spcAft>
              <a:spcPct val="15000"/>
            </a:spcAft>
            <a:buChar char="••"/>
          </a:pPr>
          <a:r>
            <a:rPr lang="tr-TR" sz="1800" kern="1200" dirty="0" smtClean="0"/>
            <a:t>27.2 Akümülatör ve pil imalatı</a:t>
          </a:r>
          <a:endParaRPr lang="tr-TR" sz="1800" kern="1200" dirty="0"/>
        </a:p>
      </dsp:txBody>
      <dsp:txXfrm rot="-5400000">
        <a:off x="2021558" y="331391"/>
        <a:ext cx="3500826" cy="1720110"/>
      </dsp:txXfrm>
    </dsp:sp>
    <dsp:sp modelId="{37B69EC3-81AB-4D1F-8FDD-C7AEE154F861}">
      <dsp:nvSpPr>
        <dsp:cNvPr id="0" name=""/>
        <dsp:cNvSpPr/>
      </dsp:nvSpPr>
      <dsp:spPr>
        <a:xfrm>
          <a:off x="0" y="59"/>
          <a:ext cx="2021558" cy="23827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lvl="0" algn="ctr" defTabSz="1466850" rtl="0">
            <a:lnSpc>
              <a:spcPct val="90000"/>
            </a:lnSpc>
            <a:spcBef>
              <a:spcPct val="0"/>
            </a:spcBef>
            <a:spcAft>
              <a:spcPct val="35000"/>
            </a:spcAft>
          </a:pPr>
          <a:r>
            <a:rPr lang="tr-TR" sz="3300" kern="1200" smtClean="0"/>
            <a:t>Sektörler</a:t>
          </a:r>
          <a:endParaRPr lang="tr-TR" sz="3300" kern="1200"/>
        </a:p>
      </dsp:txBody>
      <dsp:txXfrm>
        <a:off x="98684" y="98743"/>
        <a:ext cx="1824190" cy="2185405"/>
      </dsp:txXfrm>
    </dsp:sp>
    <dsp:sp modelId="{B24C5350-30C4-4140-B8C4-C1EC74B45EC1}">
      <dsp:nvSpPr>
        <dsp:cNvPr id="0" name=""/>
        <dsp:cNvSpPr/>
      </dsp:nvSpPr>
      <dsp:spPr>
        <a:xfrm rot="5400000">
          <a:off x="2865389" y="1896418"/>
          <a:ext cx="1906218" cy="359388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34290" rIns="68580" bIns="34290" numCol="1" spcCol="1270" anchor="ctr" anchorCtr="0">
          <a:noAutofit/>
        </a:bodyPr>
        <a:lstStyle/>
        <a:p>
          <a:pPr marL="171450" lvl="1" indent="-171450" algn="l" defTabSz="800100" rtl="0">
            <a:lnSpc>
              <a:spcPct val="90000"/>
            </a:lnSpc>
            <a:spcBef>
              <a:spcPct val="0"/>
            </a:spcBef>
            <a:spcAft>
              <a:spcPct val="15000"/>
            </a:spcAft>
            <a:buChar char="••"/>
          </a:pPr>
          <a:r>
            <a:rPr lang="tr-TR" sz="1800" kern="1200" dirty="0" smtClean="0"/>
            <a:t>Otomotiv sektöründe kullanılmak üzere; </a:t>
          </a:r>
          <a:endParaRPr lang="tr-TR" sz="1800" kern="1200" dirty="0"/>
        </a:p>
        <a:p>
          <a:pPr marL="171450" lvl="1" indent="-171450" algn="l" defTabSz="800100" rtl="0">
            <a:lnSpc>
              <a:spcPct val="90000"/>
            </a:lnSpc>
            <a:spcBef>
              <a:spcPct val="0"/>
            </a:spcBef>
            <a:spcAft>
              <a:spcPct val="15000"/>
            </a:spcAft>
            <a:buChar char="••"/>
          </a:pPr>
          <a:r>
            <a:rPr lang="tr-TR" sz="1800" kern="1200" dirty="0" smtClean="0"/>
            <a:t>Elektrikli ve/veya hidrojen ile çalışan motorlu kara taşıtları</a:t>
          </a:r>
          <a:endParaRPr lang="tr-TR" sz="1800" kern="1200" dirty="0"/>
        </a:p>
        <a:p>
          <a:pPr marL="171450" lvl="1" indent="-171450" algn="l" defTabSz="800100" rtl="0">
            <a:lnSpc>
              <a:spcPct val="90000"/>
            </a:lnSpc>
            <a:spcBef>
              <a:spcPct val="0"/>
            </a:spcBef>
            <a:spcAft>
              <a:spcPct val="15000"/>
            </a:spcAft>
            <a:buChar char="••"/>
          </a:pPr>
          <a:r>
            <a:rPr lang="tr-TR" sz="1800" kern="1200" smtClean="0"/>
            <a:t>Pil (batarya) teknolojisi </a:t>
          </a:r>
          <a:endParaRPr lang="tr-TR" sz="1800" kern="1200"/>
        </a:p>
        <a:p>
          <a:pPr marL="171450" lvl="1" indent="-171450" algn="l" defTabSz="800100" rtl="0">
            <a:lnSpc>
              <a:spcPct val="90000"/>
            </a:lnSpc>
            <a:spcBef>
              <a:spcPct val="0"/>
            </a:spcBef>
            <a:spcAft>
              <a:spcPct val="15000"/>
            </a:spcAft>
            <a:buChar char="••"/>
          </a:pPr>
          <a:r>
            <a:rPr lang="tr-TR" sz="1800" kern="1200" smtClean="0"/>
            <a:t>Yakıt hücresi</a:t>
          </a:r>
          <a:endParaRPr lang="tr-TR" sz="1800" kern="1200"/>
        </a:p>
      </dsp:txBody>
      <dsp:txXfrm rot="-5400000">
        <a:off x="2021558" y="2833303"/>
        <a:ext cx="3500826" cy="1720110"/>
      </dsp:txXfrm>
    </dsp:sp>
    <dsp:sp modelId="{83BB7CF0-2DEA-425D-8E23-B46027B17B78}">
      <dsp:nvSpPr>
        <dsp:cNvPr id="0" name=""/>
        <dsp:cNvSpPr/>
      </dsp:nvSpPr>
      <dsp:spPr>
        <a:xfrm>
          <a:off x="0" y="2501971"/>
          <a:ext cx="2021558" cy="23827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lvl="0" algn="ctr" defTabSz="1466850" rtl="0">
            <a:lnSpc>
              <a:spcPct val="90000"/>
            </a:lnSpc>
            <a:spcBef>
              <a:spcPct val="0"/>
            </a:spcBef>
            <a:spcAft>
              <a:spcPct val="35000"/>
            </a:spcAft>
          </a:pPr>
          <a:r>
            <a:rPr lang="tr-TR" sz="3300" kern="1200" dirty="0" smtClean="0"/>
            <a:t>Proje Konuları</a:t>
          </a:r>
          <a:endParaRPr lang="tr-TR" sz="3300" kern="1200" dirty="0"/>
        </a:p>
      </dsp:txBody>
      <dsp:txXfrm>
        <a:off x="98684" y="2600655"/>
        <a:ext cx="1824190" cy="21854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5F795-756F-4A87-ABBE-4A30A612A0BA}">
      <dsp:nvSpPr>
        <dsp:cNvPr id="0" name=""/>
        <dsp:cNvSpPr/>
      </dsp:nvSpPr>
      <dsp:spPr>
        <a:xfrm rot="5400000">
          <a:off x="2940344" y="-640767"/>
          <a:ext cx="1906218" cy="366442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tr-TR" sz="1400" kern="1200" smtClean="0"/>
            <a:t>26.1 Elektronik bileşenlerin ve devre kartlarının imalatı</a:t>
          </a:r>
          <a:endParaRPr lang="tr-TR" sz="1400" kern="1200"/>
        </a:p>
        <a:p>
          <a:pPr marL="114300" lvl="1" indent="-114300" algn="l" defTabSz="622300" rtl="0">
            <a:lnSpc>
              <a:spcPct val="90000"/>
            </a:lnSpc>
            <a:spcBef>
              <a:spcPct val="0"/>
            </a:spcBef>
            <a:spcAft>
              <a:spcPct val="15000"/>
            </a:spcAft>
            <a:buChar char="••"/>
          </a:pPr>
          <a:r>
            <a:rPr lang="tr-TR" sz="1400" kern="1200" smtClean="0"/>
            <a:t>26.3 İletişim ekipmanlarının imalatı</a:t>
          </a:r>
          <a:endParaRPr lang="tr-TR" sz="1400" kern="1200"/>
        </a:p>
        <a:p>
          <a:pPr marL="114300" lvl="1" indent="-114300" algn="l" defTabSz="622300" rtl="0">
            <a:lnSpc>
              <a:spcPct val="90000"/>
            </a:lnSpc>
            <a:spcBef>
              <a:spcPct val="0"/>
            </a:spcBef>
            <a:spcAft>
              <a:spcPct val="15000"/>
            </a:spcAft>
            <a:buChar char="••"/>
          </a:pPr>
          <a:r>
            <a:rPr lang="tr-TR" sz="1400" kern="1200" dirty="0" smtClean="0"/>
            <a:t>26.4 Tüketici elektroniği ürünlerinin imalatı</a:t>
          </a:r>
          <a:endParaRPr lang="tr-TR" sz="1400" kern="1200" dirty="0"/>
        </a:p>
        <a:p>
          <a:pPr marL="114300" lvl="1" indent="-114300" algn="l" defTabSz="622300" rtl="0">
            <a:lnSpc>
              <a:spcPct val="90000"/>
            </a:lnSpc>
            <a:spcBef>
              <a:spcPct val="0"/>
            </a:spcBef>
            <a:spcAft>
              <a:spcPct val="15000"/>
            </a:spcAft>
            <a:buChar char="••"/>
          </a:pPr>
          <a:r>
            <a:rPr lang="tr-TR" sz="1400" kern="1200" smtClean="0"/>
            <a:t>26.5 Ölçme, test ve seyrüsefer amaçlı alet ve cihazlar ile saat imalatı (26.52 Kol saatlerinin, masa ve duvar saatlerinin ve benzerlerinin imalatı hariçtir.)</a:t>
          </a:r>
          <a:endParaRPr lang="tr-TR" sz="1400" kern="1200"/>
        </a:p>
      </dsp:txBody>
      <dsp:txXfrm rot="-5400000">
        <a:off x="2061240" y="331391"/>
        <a:ext cx="3571372" cy="1720110"/>
      </dsp:txXfrm>
    </dsp:sp>
    <dsp:sp modelId="{4A75293F-9858-4D77-B36B-53E16A68F664}">
      <dsp:nvSpPr>
        <dsp:cNvPr id="0" name=""/>
        <dsp:cNvSpPr/>
      </dsp:nvSpPr>
      <dsp:spPr>
        <a:xfrm>
          <a:off x="0" y="59"/>
          <a:ext cx="2061240" cy="23827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lvl="0" algn="ctr" defTabSz="1511300" rtl="0">
            <a:lnSpc>
              <a:spcPct val="90000"/>
            </a:lnSpc>
            <a:spcBef>
              <a:spcPct val="0"/>
            </a:spcBef>
            <a:spcAft>
              <a:spcPct val="35000"/>
            </a:spcAft>
          </a:pPr>
          <a:r>
            <a:rPr lang="tr-TR" sz="3400" kern="1200" smtClean="0"/>
            <a:t>Sektörler</a:t>
          </a:r>
          <a:endParaRPr lang="tr-TR" sz="3400" kern="1200"/>
        </a:p>
      </dsp:txBody>
      <dsp:txXfrm>
        <a:off x="100621" y="100680"/>
        <a:ext cx="1859998" cy="2181531"/>
      </dsp:txXfrm>
    </dsp:sp>
    <dsp:sp modelId="{8588E5F4-A690-4F39-9CEB-F7413C45F47D}">
      <dsp:nvSpPr>
        <dsp:cNvPr id="0" name=""/>
        <dsp:cNvSpPr/>
      </dsp:nvSpPr>
      <dsp:spPr>
        <a:xfrm rot="5400000">
          <a:off x="2940344" y="1861145"/>
          <a:ext cx="1906218" cy="366442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tr-TR" sz="1400" kern="1200" smtClean="0"/>
            <a:t>5G ve ötesi teknolojiler dâhil olmak üzere yerli elektronik haberleşme şebeke ve altyapı bileşenleri kapsamında yeni nesil mobil haberleşme teknolojileri konularında</a:t>
          </a:r>
          <a:endParaRPr lang="tr-TR" sz="1400" kern="1200"/>
        </a:p>
      </dsp:txBody>
      <dsp:txXfrm rot="-5400000">
        <a:off x="2061240" y="2833303"/>
        <a:ext cx="3571372" cy="1720110"/>
      </dsp:txXfrm>
    </dsp:sp>
    <dsp:sp modelId="{9AA56EC3-78A3-4859-9869-A48344750A3D}">
      <dsp:nvSpPr>
        <dsp:cNvPr id="0" name=""/>
        <dsp:cNvSpPr/>
      </dsp:nvSpPr>
      <dsp:spPr>
        <a:xfrm>
          <a:off x="0" y="2501971"/>
          <a:ext cx="2061240" cy="23827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lvl="0" algn="ctr" defTabSz="1511300" rtl="0">
            <a:lnSpc>
              <a:spcPct val="90000"/>
            </a:lnSpc>
            <a:spcBef>
              <a:spcPct val="0"/>
            </a:spcBef>
            <a:spcAft>
              <a:spcPct val="35000"/>
            </a:spcAft>
          </a:pPr>
          <a:r>
            <a:rPr lang="tr-TR" sz="3400" kern="1200" smtClean="0"/>
            <a:t>Proje konuları</a:t>
          </a:r>
          <a:endParaRPr lang="tr-TR" sz="3400" kern="1200"/>
        </a:p>
      </dsp:txBody>
      <dsp:txXfrm>
        <a:off x="100621" y="2602592"/>
        <a:ext cx="1859998" cy="218153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8EBFC7-D86E-4A76-A86C-053F2F11C72B}" type="datetimeFigureOut">
              <a:rPr lang="tr-TR" smtClean="0"/>
              <a:t>15.04.2021</a:t>
            </a:fld>
            <a:endParaRPr lang="tr-TR"/>
          </a:p>
        </p:txBody>
      </p:sp>
      <p:sp>
        <p:nvSpPr>
          <p:cNvPr id="4" name="Slayt Görüntüsü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501AE5-3338-4228-B63E-7FB66C995401}" type="slidenum">
              <a:rPr lang="tr-TR" smtClean="0"/>
              <a:t>‹#›</a:t>
            </a:fld>
            <a:endParaRPr lang="tr-TR"/>
          </a:p>
        </p:txBody>
      </p:sp>
    </p:spTree>
    <p:extLst>
      <p:ext uri="{BB962C8B-B14F-4D97-AF65-F5344CB8AC3E}">
        <p14:creationId xmlns:p14="http://schemas.microsoft.com/office/powerpoint/2010/main" val="3135952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2090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p:cNvSpPr>
            <a:spLocks noGrp="1"/>
          </p:cNvSpPr>
          <p:nvPr>
            <p:ph type="ctrTitle"/>
          </p:nvPr>
        </p:nvSpPr>
        <p:spPr>
          <a:xfrm>
            <a:off x="1524000" y="1122363"/>
            <a:ext cx="9144000" cy="2387600"/>
          </a:xfrm>
        </p:spPr>
        <p:txBody>
          <a:bodyPr anchor="b"/>
          <a:lstStyle>
            <a:lvl1pPr algn="ctr">
              <a:defRPr sz="6000"/>
            </a:lvl1pPr>
          </a:lstStyle>
          <a:p>
            <a:r>
              <a:rPr lang="tr-TR" smtClean="0"/>
              <a:t>Asıl başlık stili için tıklatın</a:t>
            </a:r>
            <a:endParaRPr lang="tr-TR"/>
          </a:p>
        </p:txBody>
      </p:sp>
      <p:sp>
        <p:nvSpPr>
          <p:cNvPr id="3" name="Alt Başlı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smtClean="0"/>
              <a:t>Asıl alt başlık stilini düzenlemek için tıklayın</a:t>
            </a:r>
            <a:endParaRPr lang="tr-TR"/>
          </a:p>
        </p:txBody>
      </p:sp>
      <p:sp>
        <p:nvSpPr>
          <p:cNvPr id="4" name="Veri Yer Tutucusu 3"/>
          <p:cNvSpPr>
            <a:spLocks noGrp="1"/>
          </p:cNvSpPr>
          <p:nvPr>
            <p:ph type="dt" sz="half" idx="10"/>
          </p:nvPr>
        </p:nvSpPr>
        <p:spPr/>
        <p:txBody>
          <a:bodyPr/>
          <a:lstStyle/>
          <a:p>
            <a:fld id="{38B13268-41DC-4845-B38B-0D2AB2FDCAB5}" type="datetimeFigureOut">
              <a:rPr lang="tr-TR" smtClean="0"/>
              <a:t>15.04.2021</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1845700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38B13268-41DC-4845-B38B-0D2AB2FDCAB5}" type="datetimeFigureOut">
              <a:rPr lang="tr-TR" smtClean="0"/>
              <a:t>15.04.2021</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1487955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24900" y="365125"/>
            <a:ext cx="2628900" cy="5811838"/>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838200" y="365125"/>
            <a:ext cx="7734300" cy="5811838"/>
          </a:xfrm>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38B13268-41DC-4845-B38B-0D2AB2FDCAB5}" type="datetimeFigureOut">
              <a:rPr lang="tr-TR" smtClean="0"/>
              <a:t>15.04.2021</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37007495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21</a:t>
            </a:fld>
            <a:endParaRPr lang="en-US"/>
          </a:p>
        </p:txBody>
      </p:sp>
      <p:sp>
        <p:nvSpPr>
          <p:cNvPr id="6" name="Holder 6"/>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ts val="1240"/>
              </a:lnSpc>
            </a:pPr>
            <a:fld id="{81D60167-4931-47E6-BA6A-407CBD079E47}" type="slidenum">
              <a:rPr dirty="0"/>
              <a:t>‹#›</a:t>
            </a:fld>
            <a:endParaRPr dirty="0"/>
          </a:p>
        </p:txBody>
      </p:sp>
    </p:spTree>
    <p:extLst>
      <p:ext uri="{BB962C8B-B14F-4D97-AF65-F5344CB8AC3E}">
        <p14:creationId xmlns:p14="http://schemas.microsoft.com/office/powerpoint/2010/main" val="1462703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0" y="6280391"/>
            <a:ext cx="12191999" cy="192024"/>
          </a:xfrm>
          <a:prstGeom prst="rect">
            <a:avLst/>
          </a:prstGeom>
          <a:blipFill>
            <a:blip r:embed="rId3" cstate="print"/>
            <a:stretch>
              <a:fillRect/>
            </a:stretch>
          </a:blipFill>
        </p:spPr>
        <p:txBody>
          <a:bodyPr wrap="square" lIns="0" tIns="0" rIns="0" bIns="0" rtlCol="0"/>
          <a:lstStyle/>
          <a:p>
            <a:endParaRPr/>
          </a:p>
        </p:txBody>
      </p:sp>
      <p:sp>
        <p:nvSpPr>
          <p:cNvPr id="18" name="bk object 18"/>
          <p:cNvSpPr/>
          <p:nvPr/>
        </p:nvSpPr>
        <p:spPr>
          <a:xfrm>
            <a:off x="359663" y="301752"/>
            <a:ext cx="1225296" cy="723900"/>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400" b="1" i="0">
                <a:solidFill>
                  <a:srgbClr val="181818"/>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5/2021</a:t>
            </a:fld>
            <a:endParaRPr lang="en-US"/>
          </a:p>
        </p:txBody>
      </p:sp>
      <p:sp>
        <p:nvSpPr>
          <p:cNvPr id="5" name="Holder 5"/>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ts val="1240"/>
              </a:lnSpc>
            </a:pPr>
            <a:fld id="{81D60167-4931-47E6-BA6A-407CBD079E47}" type="slidenum">
              <a:rPr dirty="0"/>
              <a:t>‹#›</a:t>
            </a:fld>
            <a:endParaRPr dirty="0"/>
          </a:p>
        </p:txBody>
      </p:sp>
    </p:spTree>
    <p:extLst>
      <p:ext uri="{BB962C8B-B14F-4D97-AF65-F5344CB8AC3E}">
        <p14:creationId xmlns:p14="http://schemas.microsoft.com/office/powerpoint/2010/main" val="4091778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38B13268-41DC-4845-B38B-0D2AB2FDCAB5}" type="datetimeFigureOut">
              <a:rPr lang="tr-TR" smtClean="0"/>
              <a:t>15.04.2021</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31717145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Unvan 1"/>
          <p:cNvSpPr>
            <a:spLocks noGrp="1"/>
          </p:cNvSpPr>
          <p:nvPr>
            <p:ph type="title"/>
          </p:nvPr>
        </p:nvSpPr>
        <p:spPr>
          <a:xfrm>
            <a:off x="831850" y="1709738"/>
            <a:ext cx="10515600" cy="2852737"/>
          </a:xfrm>
        </p:spPr>
        <p:txBody>
          <a:bodyPr anchor="b"/>
          <a:lstStyle>
            <a:lvl1pPr>
              <a:defRPr sz="6000"/>
            </a:lvl1pPr>
          </a:lstStyle>
          <a:p>
            <a:r>
              <a:rPr lang="tr-TR" smtClean="0"/>
              <a:t>Asıl başlık stili için tıklatın</a:t>
            </a:r>
            <a:endParaRPr lang="tr-TR"/>
          </a:p>
        </p:txBody>
      </p:sp>
      <p:sp>
        <p:nvSpPr>
          <p:cNvPr id="3" name="Metin Yer Tutucusu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smtClean="0"/>
              <a:t>Asıl metin stillerini düzenle</a:t>
            </a:r>
          </a:p>
        </p:txBody>
      </p:sp>
      <p:sp>
        <p:nvSpPr>
          <p:cNvPr id="4" name="Veri Yer Tutucusu 3"/>
          <p:cNvSpPr>
            <a:spLocks noGrp="1"/>
          </p:cNvSpPr>
          <p:nvPr>
            <p:ph type="dt" sz="half" idx="10"/>
          </p:nvPr>
        </p:nvSpPr>
        <p:spPr/>
        <p:txBody>
          <a:bodyPr/>
          <a:lstStyle/>
          <a:p>
            <a:fld id="{38B13268-41DC-4845-B38B-0D2AB2FDCAB5}" type="datetimeFigureOut">
              <a:rPr lang="tr-TR" smtClean="0"/>
              <a:t>15.04.2021</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1788825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838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6172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Veri Yer Tutucusu 4"/>
          <p:cNvSpPr>
            <a:spLocks noGrp="1"/>
          </p:cNvSpPr>
          <p:nvPr>
            <p:ph type="dt" sz="half" idx="10"/>
          </p:nvPr>
        </p:nvSpPr>
        <p:spPr/>
        <p:txBody>
          <a:bodyPr/>
          <a:lstStyle/>
          <a:p>
            <a:fld id="{38B13268-41DC-4845-B38B-0D2AB2FDCAB5}" type="datetimeFigureOut">
              <a:rPr lang="tr-TR" smtClean="0"/>
              <a:t>15.04.2021</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10078417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p:cNvSpPr>
            <a:spLocks noGrp="1"/>
          </p:cNvSpPr>
          <p:nvPr>
            <p:ph type="title"/>
          </p:nvPr>
        </p:nvSpPr>
        <p:spPr>
          <a:xfrm>
            <a:off x="839788" y="365125"/>
            <a:ext cx="10515600" cy="1325563"/>
          </a:xfrm>
        </p:spPr>
        <p:txBody>
          <a:bodyPr/>
          <a:lstStyle/>
          <a:p>
            <a:r>
              <a:rPr lang="tr-TR" smtClean="0"/>
              <a:t>Asıl başlık stili için tıklatın</a:t>
            </a:r>
            <a:endParaRPr lang="tr-TR"/>
          </a:p>
        </p:txBody>
      </p:sp>
      <p:sp>
        <p:nvSpPr>
          <p:cNvPr id="3" name="Metin Yer Tutucusu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4" name="İçerik Yer Tutucusu 3"/>
          <p:cNvSpPr>
            <a:spLocks noGrp="1"/>
          </p:cNvSpPr>
          <p:nvPr>
            <p:ph sz="half" idx="2"/>
          </p:nvPr>
        </p:nvSpPr>
        <p:spPr>
          <a:xfrm>
            <a:off x="839788" y="2505075"/>
            <a:ext cx="5157787"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6" name="İçerik Yer Tutucusu 5"/>
          <p:cNvSpPr>
            <a:spLocks noGrp="1"/>
          </p:cNvSpPr>
          <p:nvPr>
            <p:ph sz="quarter" idx="4"/>
          </p:nvPr>
        </p:nvSpPr>
        <p:spPr>
          <a:xfrm>
            <a:off x="6172200" y="2505075"/>
            <a:ext cx="5183188"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Veri Yer Tutucusu 6"/>
          <p:cNvSpPr>
            <a:spLocks noGrp="1"/>
          </p:cNvSpPr>
          <p:nvPr>
            <p:ph type="dt" sz="half" idx="10"/>
          </p:nvPr>
        </p:nvSpPr>
        <p:spPr/>
        <p:txBody>
          <a:bodyPr/>
          <a:lstStyle/>
          <a:p>
            <a:fld id="{38B13268-41DC-4845-B38B-0D2AB2FDCAB5}" type="datetimeFigureOut">
              <a:rPr lang="tr-TR" smtClean="0"/>
              <a:t>15.04.2021</a:t>
            </a:fld>
            <a:endParaRPr lang="tr-TR"/>
          </a:p>
        </p:txBody>
      </p:sp>
      <p:sp>
        <p:nvSpPr>
          <p:cNvPr id="8" name="Altbilgi Yer Tutucusu 7"/>
          <p:cNvSpPr>
            <a:spLocks noGrp="1"/>
          </p:cNvSpPr>
          <p:nvPr>
            <p:ph type="ftr" sz="quarter" idx="11"/>
          </p:nvPr>
        </p:nvSpPr>
        <p:spPr/>
        <p:txBody>
          <a:bodyPr/>
          <a:lstStyle/>
          <a:p>
            <a:endParaRPr lang="tr-TR"/>
          </a:p>
        </p:txBody>
      </p:sp>
      <p:sp>
        <p:nvSpPr>
          <p:cNvPr id="9" name="Slayt Numarası Yer Tutucusu 8"/>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1795920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Veri Yer Tutucusu 2"/>
          <p:cNvSpPr>
            <a:spLocks noGrp="1"/>
          </p:cNvSpPr>
          <p:nvPr>
            <p:ph type="dt" sz="half" idx="10"/>
          </p:nvPr>
        </p:nvSpPr>
        <p:spPr/>
        <p:txBody>
          <a:bodyPr/>
          <a:lstStyle/>
          <a:p>
            <a:fld id="{38B13268-41DC-4845-B38B-0D2AB2FDCAB5}" type="datetimeFigureOut">
              <a:rPr lang="tr-TR" smtClean="0"/>
              <a:t>15.04.2021</a:t>
            </a:fld>
            <a:endParaRPr lang="tr-TR"/>
          </a:p>
        </p:txBody>
      </p:sp>
      <p:sp>
        <p:nvSpPr>
          <p:cNvPr id="4" name="Altbilgi Yer Tutucusu 3"/>
          <p:cNvSpPr>
            <a:spLocks noGrp="1"/>
          </p:cNvSpPr>
          <p:nvPr>
            <p:ph type="ftr" sz="quarter" idx="11"/>
          </p:nvPr>
        </p:nvSpPr>
        <p:spPr/>
        <p:txBody>
          <a:bodyPr/>
          <a:lstStyle/>
          <a:p>
            <a:endParaRPr lang="tr-TR"/>
          </a:p>
        </p:txBody>
      </p:sp>
      <p:sp>
        <p:nvSpPr>
          <p:cNvPr id="5" name="Slayt Numarası Yer Tutucusu 4"/>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3420455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38B13268-41DC-4845-B38B-0D2AB2FDCAB5}" type="datetimeFigureOut">
              <a:rPr lang="tr-TR" smtClean="0"/>
              <a:t>15.04.2021</a:t>
            </a:fld>
            <a:endParaRPr lang="tr-TR"/>
          </a:p>
        </p:txBody>
      </p:sp>
      <p:sp>
        <p:nvSpPr>
          <p:cNvPr id="3" name="Altbilgi Yer Tutucusu 2"/>
          <p:cNvSpPr>
            <a:spLocks noGrp="1"/>
          </p:cNvSpPr>
          <p:nvPr>
            <p:ph type="ftr" sz="quarter" idx="11"/>
          </p:nvPr>
        </p:nvSpPr>
        <p:spPr/>
        <p:txBody>
          <a:bodyPr/>
          <a:lstStyle/>
          <a:p>
            <a:endParaRPr lang="tr-TR"/>
          </a:p>
        </p:txBody>
      </p:sp>
      <p:sp>
        <p:nvSpPr>
          <p:cNvPr id="4" name="Slayt Numarası Yer Tutucusu 3"/>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1802866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İçerik Yer Tutucus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38B13268-41DC-4845-B38B-0D2AB2FDCAB5}" type="datetimeFigureOut">
              <a:rPr lang="tr-TR" smtClean="0"/>
              <a:t>15.04.2021</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31351808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Resim Yer Tutucusu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38B13268-41DC-4845-B38B-0D2AB2FDCAB5}" type="datetimeFigureOut">
              <a:rPr lang="tr-TR" smtClean="0"/>
              <a:t>15.04.2021</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6BC10E2B-72E8-48CC-98DE-3C1946BB91FF}" type="slidenum">
              <a:rPr lang="tr-TR" smtClean="0"/>
              <a:t>‹#›</a:t>
            </a:fld>
            <a:endParaRPr lang="tr-TR"/>
          </a:p>
        </p:txBody>
      </p:sp>
    </p:spTree>
    <p:extLst>
      <p:ext uri="{BB962C8B-B14F-4D97-AF65-F5344CB8AC3E}">
        <p14:creationId xmlns:p14="http://schemas.microsoft.com/office/powerpoint/2010/main" val="22824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B13268-41DC-4845-B38B-0D2AB2FDCAB5}" type="datetimeFigureOut">
              <a:rPr lang="tr-TR" smtClean="0"/>
              <a:t>15.04.2021</a:t>
            </a:fld>
            <a:endParaRPr lang="tr-TR"/>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C10E2B-72E8-48CC-98DE-3C1946BB91FF}" type="slidenum">
              <a:rPr lang="tr-TR" smtClean="0"/>
              <a:t>‹#›</a:t>
            </a:fld>
            <a:endParaRPr lang="tr-TR"/>
          </a:p>
        </p:txBody>
      </p:sp>
    </p:spTree>
    <p:extLst>
      <p:ext uri="{BB962C8B-B14F-4D97-AF65-F5344CB8AC3E}">
        <p14:creationId xmlns:p14="http://schemas.microsoft.com/office/powerpoint/2010/main" val="40579650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12.png"/><Relationship Id="rId3" Type="http://schemas.openxmlformats.org/officeDocument/2006/relationships/tags" Target="../tags/tag3.xml"/><Relationship Id="rId7" Type="http://schemas.openxmlformats.org/officeDocument/2006/relationships/slideLayout" Target="../slideLayouts/slideLayout2.xml"/><Relationship Id="rId12" Type="http://schemas.openxmlformats.org/officeDocument/2006/relationships/image" Target="../media/image1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0.jpeg"/><Relationship Id="rId5" Type="http://schemas.openxmlformats.org/officeDocument/2006/relationships/tags" Target="../tags/tag5.xml"/><Relationship Id="rId10" Type="http://schemas.openxmlformats.org/officeDocument/2006/relationships/image" Target="../media/image9.jpeg"/><Relationship Id="rId4" Type="http://schemas.openxmlformats.org/officeDocument/2006/relationships/tags" Target="../tags/tag4.xml"/><Relationship Id="rId9" Type="http://schemas.openxmlformats.org/officeDocument/2006/relationships/image" Target="../media/image8.png"/><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image" Target="../media/image7.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tags" Target="../tags/tag53.xml"/><Relationship Id="rId50" Type="http://schemas.openxmlformats.org/officeDocument/2006/relationships/tags" Target="../tags/tag56.xml"/><Relationship Id="rId7" Type="http://schemas.openxmlformats.org/officeDocument/2006/relationships/tags" Target="../tags/tag13.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image" Target="../media/image7.png"/><Relationship Id="rId5" Type="http://schemas.openxmlformats.org/officeDocument/2006/relationships/tags" Target="../tags/tag11.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slideLayout" Target="../slideLayouts/slideLayout2.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8" Type="http://schemas.openxmlformats.org/officeDocument/2006/relationships/tags" Target="../tags/tag14.xml"/><Relationship Id="rId51" Type="http://schemas.openxmlformats.org/officeDocument/2006/relationships/tags" Target="../tags/tag57.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20" Type="http://schemas.openxmlformats.org/officeDocument/2006/relationships/tags" Target="../tags/tag26.xml"/><Relationship Id="rId41" Type="http://schemas.openxmlformats.org/officeDocument/2006/relationships/tags" Target="../tags/tag47.xml"/><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3329938"/>
            <a:ext cx="12192000" cy="3528058"/>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364236" y="260604"/>
            <a:ext cx="1943100" cy="1149096"/>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0" y="1632204"/>
            <a:ext cx="12190476" cy="190500"/>
          </a:xfrm>
          <a:prstGeom prst="rect">
            <a:avLst/>
          </a:prstGeom>
          <a:blipFill>
            <a:blip r:embed="rId4" cstate="print"/>
            <a:stretch>
              <a:fillRect/>
            </a:stretch>
          </a:blipFill>
        </p:spPr>
        <p:txBody>
          <a:bodyPr wrap="square" lIns="0" tIns="0" rIns="0" bIns="0" rtlCol="0"/>
          <a:lstStyle/>
          <a:p>
            <a:endParaRPr/>
          </a:p>
        </p:txBody>
      </p:sp>
      <p:sp>
        <p:nvSpPr>
          <p:cNvPr id="5" name="object 5"/>
          <p:cNvSpPr/>
          <p:nvPr/>
        </p:nvSpPr>
        <p:spPr>
          <a:xfrm>
            <a:off x="-1523" y="6472428"/>
            <a:ext cx="4411980" cy="386080"/>
          </a:xfrm>
          <a:custGeom>
            <a:avLst/>
            <a:gdLst/>
            <a:ahLst/>
            <a:cxnLst/>
            <a:rect l="l" t="t" r="r" b="b"/>
            <a:pathLst>
              <a:path w="4411980" h="386079">
                <a:moveTo>
                  <a:pt x="0" y="385572"/>
                </a:moveTo>
                <a:lnTo>
                  <a:pt x="4411980" y="385572"/>
                </a:lnTo>
                <a:lnTo>
                  <a:pt x="4411980" y="0"/>
                </a:lnTo>
                <a:lnTo>
                  <a:pt x="0" y="0"/>
                </a:lnTo>
                <a:lnTo>
                  <a:pt x="0" y="385572"/>
                </a:lnTo>
                <a:close/>
              </a:path>
            </a:pathLst>
          </a:custGeom>
          <a:solidFill>
            <a:srgbClr val="ABABAB"/>
          </a:solidFill>
        </p:spPr>
        <p:txBody>
          <a:bodyPr wrap="square" lIns="0" tIns="0" rIns="0" bIns="0" rtlCol="0"/>
          <a:lstStyle/>
          <a:p>
            <a:endParaRPr/>
          </a:p>
        </p:txBody>
      </p:sp>
      <p:sp>
        <p:nvSpPr>
          <p:cNvPr id="6" name="object 6"/>
          <p:cNvSpPr txBox="1"/>
          <p:nvPr/>
        </p:nvSpPr>
        <p:spPr>
          <a:xfrm>
            <a:off x="247904" y="6506057"/>
            <a:ext cx="3626485" cy="345440"/>
          </a:xfrm>
          <a:prstGeom prst="rect">
            <a:avLst/>
          </a:prstGeom>
        </p:spPr>
        <p:txBody>
          <a:bodyPr vert="horz" wrap="square" lIns="0" tIns="12700" rIns="0" bIns="0" rtlCol="0">
            <a:spAutoFit/>
          </a:bodyPr>
          <a:lstStyle/>
          <a:p>
            <a:pPr marL="12700">
              <a:lnSpc>
                <a:spcPct val="100000"/>
              </a:lnSpc>
              <a:spcBef>
                <a:spcPts val="100"/>
              </a:spcBef>
            </a:pPr>
            <a:r>
              <a:rPr sz="2100" spc="-20" dirty="0">
                <a:solidFill>
                  <a:srgbClr val="FFFFFF"/>
                </a:solidFill>
                <a:latin typeface="Calibri"/>
                <a:cs typeface="Calibri"/>
              </a:rPr>
              <a:t>KOBİLER </a:t>
            </a:r>
            <a:r>
              <a:rPr sz="2100" spc="-5" dirty="0">
                <a:solidFill>
                  <a:srgbClr val="FFFFFF"/>
                </a:solidFill>
                <a:latin typeface="Calibri"/>
                <a:cs typeface="Calibri"/>
              </a:rPr>
              <a:t>BÜYÜR TÜRKİYE</a:t>
            </a:r>
            <a:r>
              <a:rPr sz="2100" spc="-40" dirty="0">
                <a:solidFill>
                  <a:srgbClr val="FFFFFF"/>
                </a:solidFill>
                <a:latin typeface="Calibri"/>
                <a:cs typeface="Calibri"/>
              </a:rPr>
              <a:t> </a:t>
            </a:r>
            <a:r>
              <a:rPr sz="2100" spc="-5" dirty="0">
                <a:solidFill>
                  <a:srgbClr val="FFFFFF"/>
                </a:solidFill>
                <a:latin typeface="Calibri"/>
                <a:cs typeface="Calibri"/>
              </a:rPr>
              <a:t>BÜYÜR!</a:t>
            </a:r>
            <a:endParaRPr sz="2100">
              <a:latin typeface="Calibri"/>
              <a:cs typeface="Calibri"/>
            </a:endParaRPr>
          </a:p>
        </p:txBody>
      </p:sp>
      <p:sp>
        <p:nvSpPr>
          <p:cNvPr id="7" name="object 7"/>
          <p:cNvSpPr txBox="1"/>
          <p:nvPr/>
        </p:nvSpPr>
        <p:spPr>
          <a:xfrm>
            <a:off x="8673737" y="5740095"/>
            <a:ext cx="2951334" cy="566822"/>
          </a:xfrm>
          <a:prstGeom prst="rect">
            <a:avLst/>
          </a:prstGeom>
        </p:spPr>
        <p:txBody>
          <a:bodyPr vert="horz" wrap="square" lIns="0" tIns="12700" rIns="0" bIns="0" rtlCol="0">
            <a:spAutoFit/>
          </a:bodyPr>
          <a:lstStyle/>
          <a:p>
            <a:pPr marL="12700">
              <a:lnSpc>
                <a:spcPct val="100000"/>
              </a:lnSpc>
              <a:spcBef>
                <a:spcPts val="100"/>
              </a:spcBef>
            </a:pPr>
            <a:r>
              <a:rPr lang="tr-TR" sz="3600" b="1" dirty="0" smtClean="0">
                <a:solidFill>
                  <a:srgbClr val="FFFFFF"/>
                </a:solidFill>
                <a:latin typeface="Calibri"/>
                <a:cs typeface="Calibri"/>
              </a:rPr>
              <a:t>16 NİSAN</a:t>
            </a:r>
            <a:r>
              <a:rPr sz="3600" b="1" spc="-95" dirty="0" smtClean="0">
                <a:solidFill>
                  <a:srgbClr val="FFFFFF"/>
                </a:solidFill>
                <a:latin typeface="Calibri"/>
                <a:cs typeface="Calibri"/>
              </a:rPr>
              <a:t> </a:t>
            </a:r>
            <a:r>
              <a:rPr sz="3600" b="1" dirty="0">
                <a:solidFill>
                  <a:srgbClr val="FFFFFF"/>
                </a:solidFill>
                <a:latin typeface="Calibri"/>
                <a:cs typeface="Calibri"/>
              </a:rPr>
              <a:t>2021</a:t>
            </a:r>
            <a:endParaRPr sz="3600" dirty="0">
              <a:latin typeface="Calibri"/>
              <a:cs typeface="Calibri"/>
            </a:endParaRPr>
          </a:p>
        </p:txBody>
      </p:sp>
      <p:sp>
        <p:nvSpPr>
          <p:cNvPr id="8" name="object 8"/>
          <p:cNvSpPr txBox="1">
            <a:spLocks noGrp="1"/>
          </p:cNvSpPr>
          <p:nvPr>
            <p:ph type="ctrTitle"/>
          </p:nvPr>
        </p:nvSpPr>
        <p:spPr>
          <a:xfrm>
            <a:off x="913638" y="2035019"/>
            <a:ext cx="10363200" cy="1367682"/>
          </a:xfrm>
          <a:prstGeom prst="rect">
            <a:avLst/>
          </a:prstGeom>
        </p:spPr>
        <p:txBody>
          <a:bodyPr vert="horz" wrap="square" lIns="0" tIns="13335" rIns="0" bIns="0" rtlCol="0">
            <a:spAutoFit/>
          </a:bodyPr>
          <a:lstStyle/>
          <a:p>
            <a:pPr algn="ctr">
              <a:lnSpc>
                <a:spcPct val="100000"/>
              </a:lnSpc>
              <a:spcBef>
                <a:spcPts val="105"/>
              </a:spcBef>
            </a:pPr>
            <a:r>
              <a:rPr lang="tr-TR" b="1" spc="-5" dirty="0"/>
              <a:t>AR-GE, ÜR-GE VE İNOVASYON DESTEK </a:t>
            </a:r>
            <a:r>
              <a:rPr lang="tr-TR" b="1" spc="-5" dirty="0" smtClean="0"/>
              <a:t>PROGRAMI </a:t>
            </a:r>
            <a:endParaRPr lang="tr-TR" b="1" spc="-5" dirty="0"/>
          </a:p>
        </p:txBody>
      </p:sp>
      <p:sp>
        <p:nvSpPr>
          <p:cNvPr id="9" name="Alt Başlık 8"/>
          <p:cNvSpPr>
            <a:spLocks noGrp="1"/>
          </p:cNvSpPr>
          <p:nvPr>
            <p:ph type="subTitle" idx="4"/>
          </p:nvPr>
        </p:nvSpPr>
        <p:spPr>
          <a:xfrm>
            <a:off x="1905000" y="3581403"/>
            <a:ext cx="8534400" cy="1679434"/>
          </a:xfrm>
        </p:spPr>
        <p:txBody>
          <a:bodyPr/>
          <a:lstStyle/>
          <a:p>
            <a:pPr marL="0" indent="0" algn="ctr">
              <a:buNone/>
            </a:pPr>
            <a:r>
              <a:rPr lang="tr-TR" sz="2800" dirty="0"/>
              <a:t>2021-01 PROJE TEKLİF </a:t>
            </a:r>
            <a:r>
              <a:rPr lang="tr-TR" sz="2800" dirty="0" smtClean="0"/>
              <a:t>ÇAĞRISI</a:t>
            </a:r>
          </a:p>
          <a:p>
            <a:pPr marL="0" indent="0" algn="ctr">
              <a:buNone/>
            </a:pPr>
            <a:r>
              <a:rPr lang="tr-TR" sz="2800" dirty="0"/>
              <a:t>Öncelikli Sektörlerde Faaliyet Gösteren Küçük İşletmelerle, </a:t>
            </a:r>
            <a:r>
              <a:rPr lang="tr-TR" sz="2800" dirty="0" smtClean="0"/>
              <a:t>Orta Büyüklükteki </a:t>
            </a:r>
            <a:r>
              <a:rPr lang="tr-TR" sz="2800" dirty="0"/>
              <a:t>İşletmelerin Kritik Teknolojilerdeki Ar-Ge ve </a:t>
            </a:r>
            <a:r>
              <a:rPr lang="tr-TR" sz="2800" dirty="0" err="1" smtClean="0"/>
              <a:t>İnovasyon</a:t>
            </a:r>
            <a:r>
              <a:rPr lang="tr-TR" sz="2800" dirty="0" smtClean="0"/>
              <a:t> ile </a:t>
            </a:r>
            <a:r>
              <a:rPr lang="tr-TR" sz="2800" dirty="0" err="1"/>
              <a:t>Ür</a:t>
            </a:r>
            <a:r>
              <a:rPr lang="tr-TR" sz="2800" dirty="0"/>
              <a:t>-Ge Projelerinin </a:t>
            </a:r>
            <a:r>
              <a:rPr lang="tr-TR" sz="2800" dirty="0" smtClean="0"/>
              <a:t>Desteklenmesi</a:t>
            </a:r>
            <a:endParaRPr lang="tr-TR" sz="2800" dirty="0"/>
          </a:p>
        </p:txBody>
      </p:sp>
    </p:spTree>
    <p:extLst>
      <p:ext uri="{BB962C8B-B14F-4D97-AF65-F5344CB8AC3E}">
        <p14:creationId xmlns:p14="http://schemas.microsoft.com/office/powerpoint/2010/main" val="998134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937747" y="333756"/>
            <a:ext cx="960120" cy="676656"/>
          </a:xfrm>
          <a:prstGeom prst="rect">
            <a:avLst/>
          </a:prstGeom>
          <a:blipFill>
            <a:blip r:embed="rId2"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438098" y="234785"/>
            <a:ext cx="10499649" cy="874598"/>
          </a:xfrm>
          <a:prstGeom prst="rect">
            <a:avLst/>
          </a:prstGeom>
        </p:spPr>
        <p:txBody>
          <a:bodyPr vert="horz" wrap="square" lIns="0" tIns="12700" rIns="0" bIns="0" rtlCol="0">
            <a:spAutoFit/>
          </a:bodyPr>
          <a:lstStyle/>
          <a:p>
            <a:pPr marL="12700">
              <a:lnSpc>
                <a:spcPct val="100000"/>
              </a:lnSpc>
              <a:spcBef>
                <a:spcPts val="100"/>
              </a:spcBef>
            </a:pPr>
            <a:r>
              <a:rPr sz="2800" b="1" spc="-20" dirty="0">
                <a:solidFill>
                  <a:srgbClr val="0F243E"/>
                </a:solidFill>
                <a:effectLst>
                  <a:outerShdw blurRad="38100" dist="38100" dir="2700000" algn="tl">
                    <a:srgbClr val="000000">
                      <a:alpha val="43137"/>
                    </a:srgbClr>
                  </a:outerShdw>
                </a:effectLst>
                <a:latin typeface="Times New Roman"/>
                <a:cs typeface="Times New Roman"/>
              </a:rPr>
              <a:t>Ar-Ge, </a:t>
            </a:r>
            <a:r>
              <a:rPr sz="2800" b="1" spc="-25" dirty="0">
                <a:solidFill>
                  <a:srgbClr val="0F243E"/>
                </a:solidFill>
                <a:effectLst>
                  <a:outerShdw blurRad="38100" dist="38100" dir="2700000" algn="tl">
                    <a:srgbClr val="000000">
                      <a:alpha val="43137"/>
                    </a:srgbClr>
                  </a:outerShdw>
                </a:effectLst>
                <a:latin typeface="Times New Roman"/>
                <a:cs typeface="Times New Roman"/>
              </a:rPr>
              <a:t>Ür-Ge </a:t>
            </a:r>
            <a:r>
              <a:rPr sz="2800" b="1" dirty="0">
                <a:solidFill>
                  <a:srgbClr val="0F243E"/>
                </a:solidFill>
                <a:effectLst>
                  <a:outerShdw blurRad="38100" dist="38100" dir="2700000" algn="tl">
                    <a:srgbClr val="000000">
                      <a:alpha val="43137"/>
                    </a:srgbClr>
                  </a:outerShdw>
                </a:effectLst>
                <a:latin typeface="Times New Roman"/>
                <a:cs typeface="Times New Roman"/>
              </a:rPr>
              <a:t>ve </a:t>
            </a:r>
            <a:r>
              <a:rPr sz="2800" b="1" spc="-5" dirty="0">
                <a:solidFill>
                  <a:srgbClr val="0F243E"/>
                </a:solidFill>
                <a:effectLst>
                  <a:outerShdw blurRad="38100" dist="38100" dir="2700000" algn="tl">
                    <a:srgbClr val="000000">
                      <a:alpha val="43137"/>
                    </a:srgbClr>
                  </a:outerShdw>
                </a:effectLst>
                <a:latin typeface="Times New Roman"/>
                <a:cs typeface="Times New Roman"/>
              </a:rPr>
              <a:t>İnovasyon </a:t>
            </a:r>
            <a:r>
              <a:rPr sz="2800" b="1" spc="-5" dirty="0" err="1">
                <a:solidFill>
                  <a:srgbClr val="0F243E"/>
                </a:solidFill>
                <a:effectLst>
                  <a:outerShdw blurRad="38100" dist="38100" dir="2700000" algn="tl">
                    <a:srgbClr val="000000">
                      <a:alpha val="43137"/>
                    </a:srgbClr>
                  </a:outerShdw>
                </a:effectLst>
                <a:latin typeface="Times New Roman"/>
                <a:cs typeface="Times New Roman"/>
              </a:rPr>
              <a:t>Destek</a:t>
            </a:r>
            <a:r>
              <a:rPr sz="2800" b="1" dirty="0">
                <a:solidFill>
                  <a:srgbClr val="0F243E"/>
                </a:solidFill>
                <a:effectLst>
                  <a:outerShdw blurRad="38100" dist="38100" dir="2700000" algn="tl">
                    <a:srgbClr val="000000">
                      <a:alpha val="43137"/>
                    </a:srgbClr>
                  </a:outerShdw>
                </a:effectLst>
                <a:latin typeface="Times New Roman"/>
                <a:cs typeface="Times New Roman"/>
              </a:rPr>
              <a:t> </a:t>
            </a:r>
            <a:r>
              <a:rPr sz="2800" b="1" spc="-10" dirty="0" err="1" smtClean="0">
                <a:solidFill>
                  <a:srgbClr val="0F243E"/>
                </a:solidFill>
                <a:effectLst>
                  <a:outerShdw blurRad="38100" dist="38100" dir="2700000" algn="tl">
                    <a:srgbClr val="000000">
                      <a:alpha val="43137"/>
                    </a:srgbClr>
                  </a:outerShdw>
                </a:effectLst>
                <a:latin typeface="Times New Roman"/>
                <a:cs typeface="Times New Roman"/>
              </a:rPr>
              <a:t>Programı</a:t>
            </a:r>
            <a:r>
              <a:rPr lang="tr-TR" sz="2800" b="1" spc="-10" dirty="0" smtClean="0">
                <a:solidFill>
                  <a:srgbClr val="0F243E"/>
                </a:solidFill>
                <a:effectLst>
                  <a:outerShdw blurRad="38100" dist="38100" dir="2700000" algn="tl">
                    <a:srgbClr val="000000">
                      <a:alpha val="43137"/>
                    </a:srgbClr>
                  </a:outerShdw>
                </a:effectLst>
                <a:latin typeface="Times New Roman"/>
                <a:cs typeface="Times New Roman"/>
              </a:rPr>
              <a:t/>
            </a:r>
            <a:br>
              <a:rPr lang="tr-TR" sz="2800" b="1" spc="-10" dirty="0" smtClean="0">
                <a:solidFill>
                  <a:srgbClr val="0F243E"/>
                </a:solidFill>
                <a:effectLst>
                  <a:outerShdw blurRad="38100" dist="38100" dir="2700000" algn="tl">
                    <a:srgbClr val="000000">
                      <a:alpha val="43137"/>
                    </a:srgbClr>
                  </a:outerShdw>
                </a:effectLst>
                <a:latin typeface="Times New Roman"/>
                <a:cs typeface="Times New Roman"/>
              </a:rPr>
            </a:br>
            <a:r>
              <a:rPr lang="tr-TR" sz="2800" b="1" spc="-25" dirty="0" smtClean="0">
                <a:solidFill>
                  <a:srgbClr val="0F243E"/>
                </a:solidFill>
                <a:effectLst>
                  <a:outerShdw blurRad="38100" dist="38100" dir="2700000" algn="tl">
                    <a:srgbClr val="000000">
                      <a:alpha val="43137"/>
                    </a:srgbClr>
                  </a:outerShdw>
                </a:effectLst>
                <a:latin typeface="Times New Roman"/>
                <a:cs typeface="Times New Roman"/>
              </a:rPr>
              <a:t>2021-01 </a:t>
            </a:r>
            <a:r>
              <a:rPr lang="tr-TR" sz="2800" b="1" spc="-25" dirty="0">
                <a:solidFill>
                  <a:srgbClr val="0F243E"/>
                </a:solidFill>
                <a:effectLst>
                  <a:outerShdw blurRad="38100" dist="38100" dir="2700000" algn="tl">
                    <a:srgbClr val="000000">
                      <a:alpha val="43137"/>
                    </a:srgbClr>
                  </a:outerShdw>
                </a:effectLst>
                <a:latin typeface="Times New Roman"/>
                <a:cs typeface="Times New Roman"/>
              </a:rPr>
              <a:t>Proje Teklif </a:t>
            </a:r>
            <a:r>
              <a:rPr lang="tr-TR" sz="2800" b="1" spc="-25" dirty="0" smtClean="0">
                <a:solidFill>
                  <a:srgbClr val="0F243E"/>
                </a:solidFill>
                <a:effectLst>
                  <a:outerShdw blurRad="38100" dist="38100" dir="2700000" algn="tl">
                    <a:srgbClr val="000000">
                      <a:alpha val="43137"/>
                    </a:srgbClr>
                  </a:outerShdw>
                </a:effectLst>
                <a:latin typeface="Times New Roman"/>
                <a:cs typeface="Times New Roman"/>
              </a:rPr>
              <a:t>Çağrısı</a:t>
            </a:r>
            <a:endParaRPr sz="2800" b="1" spc="-25" dirty="0">
              <a:solidFill>
                <a:srgbClr val="0F243E"/>
              </a:solidFill>
              <a:effectLst>
                <a:outerShdw blurRad="38100" dist="38100" dir="2700000" algn="tl">
                  <a:srgbClr val="000000">
                    <a:alpha val="43137"/>
                  </a:srgbClr>
                </a:outerShdw>
              </a:effectLst>
              <a:latin typeface="Times New Roman"/>
              <a:cs typeface="Times New Roman"/>
            </a:endParaRPr>
          </a:p>
        </p:txBody>
      </p:sp>
      <p:sp>
        <p:nvSpPr>
          <p:cNvPr id="13" name="object 13"/>
          <p:cNvSpPr txBox="1"/>
          <p:nvPr/>
        </p:nvSpPr>
        <p:spPr>
          <a:xfrm>
            <a:off x="11310746" y="6464909"/>
            <a:ext cx="193675" cy="177800"/>
          </a:xfrm>
          <a:prstGeom prst="rect">
            <a:avLst/>
          </a:prstGeom>
        </p:spPr>
        <p:txBody>
          <a:bodyPr vert="horz" wrap="square" lIns="0" tIns="0" rIns="0" bIns="0" rtlCol="0">
            <a:spAutoFit/>
          </a:bodyPr>
          <a:lstStyle/>
          <a:p>
            <a:pPr marL="25400">
              <a:lnSpc>
                <a:spcPts val="1240"/>
              </a:lnSpc>
            </a:pPr>
            <a:r>
              <a:rPr sz="1200" dirty="0">
                <a:solidFill>
                  <a:srgbClr val="888888"/>
                </a:solidFill>
                <a:latin typeface="Calibri"/>
                <a:cs typeface="Calibri"/>
              </a:rPr>
              <a:t>29</a:t>
            </a:r>
            <a:endParaRPr sz="1200">
              <a:latin typeface="Calibri"/>
              <a:cs typeface="Calibri"/>
            </a:endParaRPr>
          </a:p>
        </p:txBody>
      </p:sp>
      <p:sp>
        <p:nvSpPr>
          <p:cNvPr id="12" name="object 12"/>
          <p:cNvSpPr txBox="1"/>
          <p:nvPr/>
        </p:nvSpPr>
        <p:spPr>
          <a:xfrm>
            <a:off x="438098" y="1534925"/>
            <a:ext cx="11459769" cy="4539063"/>
          </a:xfrm>
          <a:prstGeom prst="rect">
            <a:avLst/>
          </a:prstGeom>
        </p:spPr>
        <p:txBody>
          <a:bodyPr vert="horz" wrap="square" lIns="0" tIns="14605" rIns="0" bIns="0" rtlCol="0">
            <a:spAutoFit/>
          </a:bodyPr>
          <a:lstStyle/>
          <a:p>
            <a:pPr marL="467995" algn="just">
              <a:lnSpc>
                <a:spcPct val="100000"/>
              </a:lnSpc>
              <a:tabLst>
                <a:tab pos="812165" algn="l"/>
              </a:tabLst>
            </a:pPr>
            <a:r>
              <a:rPr sz="2400" b="1" spc="-5" dirty="0" err="1" smtClean="0">
                <a:solidFill>
                  <a:schemeClr val="accent4"/>
                </a:solidFill>
                <a:latin typeface="Times New Roman" panose="02020603050405020304" pitchFamily="18" charset="0"/>
                <a:cs typeface="Times New Roman" panose="02020603050405020304" pitchFamily="18" charset="0"/>
              </a:rPr>
              <a:t>Çağrı</a:t>
            </a:r>
            <a:r>
              <a:rPr lang="tr-TR" sz="2400" b="1" spc="-5" dirty="0" err="1" smtClean="0">
                <a:solidFill>
                  <a:schemeClr val="accent4"/>
                </a:solidFill>
                <a:latin typeface="Times New Roman" panose="02020603050405020304" pitchFamily="18" charset="0"/>
                <a:cs typeface="Times New Roman" panose="02020603050405020304" pitchFamily="18" charset="0"/>
              </a:rPr>
              <a:t>nın</a:t>
            </a:r>
            <a:r>
              <a:rPr lang="tr-TR" sz="2400" b="1" spc="-5" dirty="0" smtClean="0">
                <a:solidFill>
                  <a:schemeClr val="accent4"/>
                </a:solidFill>
                <a:latin typeface="Times New Roman" panose="02020603050405020304" pitchFamily="18" charset="0"/>
                <a:cs typeface="Times New Roman" panose="02020603050405020304" pitchFamily="18" charset="0"/>
              </a:rPr>
              <a:t> </a:t>
            </a:r>
            <a:r>
              <a:rPr sz="2400" b="1" spc="-235" dirty="0" smtClean="0">
                <a:solidFill>
                  <a:schemeClr val="accent4"/>
                </a:solidFill>
                <a:latin typeface="Times New Roman" panose="02020603050405020304" pitchFamily="18" charset="0"/>
                <a:cs typeface="Times New Roman" panose="02020603050405020304" pitchFamily="18" charset="0"/>
              </a:rPr>
              <a:t> </a:t>
            </a:r>
            <a:r>
              <a:rPr sz="2400" b="1" spc="-5" dirty="0" err="1" smtClean="0">
                <a:solidFill>
                  <a:schemeClr val="accent4"/>
                </a:solidFill>
                <a:latin typeface="Times New Roman" panose="02020603050405020304" pitchFamily="18" charset="0"/>
                <a:cs typeface="Times New Roman" panose="02020603050405020304" pitchFamily="18" charset="0"/>
              </a:rPr>
              <a:t>Amacı</a:t>
            </a:r>
            <a:endParaRPr lang="tr-TR" sz="2400" b="1" spc="-5" dirty="0" smtClean="0">
              <a:solidFill>
                <a:schemeClr val="accent4"/>
              </a:solidFill>
              <a:latin typeface="Times New Roman" panose="02020603050405020304" pitchFamily="18" charset="0"/>
              <a:cs typeface="Times New Roman" panose="02020603050405020304" pitchFamily="18" charset="0"/>
            </a:endParaRPr>
          </a:p>
          <a:p>
            <a:pPr marL="467995" algn="just">
              <a:lnSpc>
                <a:spcPct val="100000"/>
              </a:lnSpc>
              <a:tabLst>
                <a:tab pos="812165" algn="l"/>
              </a:tabLst>
            </a:pPr>
            <a:endParaRPr sz="2400" dirty="0">
              <a:latin typeface="Times New Roman" panose="02020603050405020304" pitchFamily="18" charset="0"/>
              <a:cs typeface="Times New Roman" panose="02020603050405020304" pitchFamily="18" charset="0"/>
            </a:endParaRPr>
          </a:p>
          <a:p>
            <a:pPr marL="467995" marR="5080" algn="just">
              <a:lnSpc>
                <a:spcPct val="100000"/>
              </a:lnSpc>
            </a:pPr>
            <a:r>
              <a:rPr sz="2000" spc="-5" dirty="0" err="1" smtClean="0">
                <a:latin typeface="Times New Roman"/>
                <a:cs typeface="Times New Roman"/>
              </a:rPr>
              <a:t>İmalat</a:t>
            </a:r>
            <a:r>
              <a:rPr sz="2000" spc="-5" dirty="0" smtClean="0">
                <a:latin typeface="Times New Roman"/>
                <a:cs typeface="Times New Roman"/>
              </a:rPr>
              <a:t> </a:t>
            </a:r>
            <a:r>
              <a:rPr sz="2000" spc="-5" dirty="0" err="1" smtClean="0">
                <a:latin typeface="Times New Roman"/>
                <a:cs typeface="Times New Roman"/>
              </a:rPr>
              <a:t>sanayii</a:t>
            </a:r>
            <a:r>
              <a:rPr sz="2000" spc="-5" dirty="0" smtClean="0">
                <a:latin typeface="Times New Roman"/>
                <a:cs typeface="Times New Roman"/>
              </a:rPr>
              <a:t> </a:t>
            </a:r>
            <a:r>
              <a:rPr sz="2000" spc="-5" dirty="0" err="1" smtClean="0">
                <a:latin typeface="Times New Roman"/>
                <a:cs typeface="Times New Roman"/>
              </a:rPr>
              <a:t>sektörlerinde</a:t>
            </a:r>
            <a:r>
              <a:rPr sz="2000" spc="-5" dirty="0" smtClean="0">
                <a:latin typeface="Times New Roman"/>
                <a:cs typeface="Times New Roman"/>
              </a:rPr>
              <a:t> </a:t>
            </a:r>
            <a:r>
              <a:rPr sz="2000" spc="-5" dirty="0" err="1" smtClean="0">
                <a:latin typeface="Times New Roman"/>
                <a:cs typeface="Times New Roman"/>
              </a:rPr>
              <a:t>teknoloji</a:t>
            </a:r>
            <a:r>
              <a:rPr sz="2000" spc="-5" dirty="0" smtClean="0">
                <a:latin typeface="Times New Roman"/>
                <a:cs typeface="Times New Roman"/>
              </a:rPr>
              <a:t>, </a:t>
            </a:r>
            <a:r>
              <a:rPr sz="2000" spc="-5" dirty="0" err="1" smtClean="0">
                <a:latin typeface="Times New Roman"/>
                <a:cs typeface="Times New Roman"/>
              </a:rPr>
              <a:t>yenilik</a:t>
            </a:r>
            <a:r>
              <a:rPr sz="2000" spc="-5" dirty="0" smtClean="0">
                <a:latin typeface="Times New Roman"/>
                <a:cs typeface="Times New Roman"/>
              </a:rPr>
              <a:t>, </a:t>
            </a:r>
            <a:r>
              <a:rPr sz="2000" dirty="0" err="1" smtClean="0">
                <a:latin typeface="Times New Roman"/>
                <a:cs typeface="Times New Roman"/>
              </a:rPr>
              <a:t>ürün</a:t>
            </a:r>
            <a:r>
              <a:rPr sz="2000" dirty="0" smtClean="0">
                <a:latin typeface="Times New Roman"/>
                <a:cs typeface="Times New Roman"/>
              </a:rPr>
              <a:t> </a:t>
            </a:r>
            <a:r>
              <a:rPr sz="2000" spc="-5" dirty="0" err="1" smtClean="0">
                <a:latin typeface="Times New Roman"/>
                <a:cs typeface="Times New Roman"/>
              </a:rPr>
              <a:t>kalitesi</a:t>
            </a:r>
            <a:r>
              <a:rPr sz="2000" spc="-5" dirty="0" smtClean="0">
                <a:latin typeface="Times New Roman"/>
                <a:cs typeface="Times New Roman"/>
              </a:rPr>
              <a:t> </a:t>
            </a:r>
            <a:r>
              <a:rPr sz="2000" spc="-10" dirty="0" err="1" smtClean="0">
                <a:latin typeface="Times New Roman"/>
                <a:cs typeface="Times New Roman"/>
              </a:rPr>
              <a:t>ve</a:t>
            </a:r>
            <a:r>
              <a:rPr sz="2000" spc="-10" dirty="0" smtClean="0">
                <a:latin typeface="Times New Roman"/>
                <a:cs typeface="Times New Roman"/>
              </a:rPr>
              <a:t> </a:t>
            </a:r>
            <a:r>
              <a:rPr sz="2000" spc="-5" dirty="0" err="1" smtClean="0">
                <a:latin typeface="Times New Roman"/>
                <a:cs typeface="Times New Roman"/>
              </a:rPr>
              <a:t>verimlilik</a:t>
            </a:r>
            <a:r>
              <a:rPr sz="2000" spc="-5" dirty="0" smtClean="0">
                <a:latin typeface="Times New Roman"/>
                <a:cs typeface="Times New Roman"/>
              </a:rPr>
              <a:t> </a:t>
            </a:r>
            <a:r>
              <a:rPr sz="2000" spc="-10" dirty="0" err="1" smtClean="0">
                <a:latin typeface="Times New Roman"/>
                <a:cs typeface="Times New Roman"/>
              </a:rPr>
              <a:t>artışı</a:t>
            </a:r>
            <a:r>
              <a:rPr sz="2000" spc="-10" dirty="0" smtClean="0">
                <a:latin typeface="Times New Roman"/>
                <a:cs typeface="Times New Roman"/>
              </a:rPr>
              <a:t>  </a:t>
            </a:r>
            <a:r>
              <a:rPr sz="2000" spc="-5" dirty="0" err="1" smtClean="0">
                <a:latin typeface="Times New Roman"/>
                <a:cs typeface="Times New Roman"/>
              </a:rPr>
              <a:t>sağlanması</a:t>
            </a:r>
            <a:r>
              <a:rPr sz="2000" spc="-5" dirty="0" smtClean="0">
                <a:latin typeface="Times New Roman"/>
                <a:cs typeface="Times New Roman"/>
              </a:rPr>
              <a:t>, </a:t>
            </a:r>
            <a:r>
              <a:rPr sz="2000" spc="-5" dirty="0" err="1" smtClean="0">
                <a:latin typeface="Times New Roman"/>
                <a:cs typeface="Times New Roman"/>
              </a:rPr>
              <a:t>endüstriyel</a:t>
            </a:r>
            <a:r>
              <a:rPr sz="2000" spc="-5" dirty="0" smtClean="0">
                <a:latin typeface="Times New Roman"/>
                <a:cs typeface="Times New Roman"/>
              </a:rPr>
              <a:t> </a:t>
            </a:r>
            <a:r>
              <a:rPr sz="2000" spc="-5" dirty="0" err="1" smtClean="0">
                <a:latin typeface="Times New Roman"/>
                <a:cs typeface="Times New Roman"/>
              </a:rPr>
              <a:t>kapasitenin</a:t>
            </a:r>
            <a:r>
              <a:rPr sz="2000" spc="-5" dirty="0" smtClean="0">
                <a:latin typeface="Times New Roman"/>
                <a:cs typeface="Times New Roman"/>
              </a:rPr>
              <a:t> </a:t>
            </a:r>
            <a:r>
              <a:rPr sz="2000" spc="-5" dirty="0" err="1" smtClean="0">
                <a:latin typeface="Times New Roman"/>
                <a:cs typeface="Times New Roman"/>
              </a:rPr>
              <a:t>dönüştürülerek</a:t>
            </a:r>
            <a:r>
              <a:rPr sz="2000" spc="-5" dirty="0" smtClean="0">
                <a:latin typeface="Times New Roman"/>
                <a:cs typeface="Times New Roman"/>
              </a:rPr>
              <a:t> </a:t>
            </a:r>
            <a:r>
              <a:rPr sz="2000" dirty="0" err="1" smtClean="0">
                <a:latin typeface="Times New Roman"/>
                <a:cs typeface="Times New Roman"/>
              </a:rPr>
              <a:t>daha</a:t>
            </a:r>
            <a:r>
              <a:rPr sz="2000" dirty="0" smtClean="0">
                <a:latin typeface="Times New Roman"/>
                <a:cs typeface="Times New Roman"/>
              </a:rPr>
              <a:t> </a:t>
            </a:r>
            <a:r>
              <a:rPr sz="2000" spc="-5" dirty="0" err="1" smtClean="0">
                <a:latin typeface="Times New Roman"/>
                <a:cs typeface="Times New Roman"/>
              </a:rPr>
              <a:t>rekabetçi</a:t>
            </a:r>
            <a:r>
              <a:rPr sz="2000" spc="-5" dirty="0" smtClean="0">
                <a:latin typeface="Times New Roman"/>
                <a:cs typeface="Times New Roman"/>
              </a:rPr>
              <a:t> hale </a:t>
            </a:r>
            <a:r>
              <a:rPr sz="2000" spc="-5" dirty="0" err="1" smtClean="0">
                <a:latin typeface="Times New Roman"/>
                <a:cs typeface="Times New Roman"/>
              </a:rPr>
              <a:t>getirilmesi</a:t>
            </a:r>
            <a:r>
              <a:rPr sz="2000" spc="-5" dirty="0" smtClean="0">
                <a:latin typeface="Times New Roman"/>
                <a:cs typeface="Times New Roman"/>
              </a:rPr>
              <a:t> </a:t>
            </a:r>
            <a:r>
              <a:rPr sz="2000" dirty="0" err="1" smtClean="0">
                <a:latin typeface="Times New Roman"/>
                <a:cs typeface="Times New Roman"/>
              </a:rPr>
              <a:t>ve</a:t>
            </a:r>
            <a:r>
              <a:rPr sz="2000" dirty="0" smtClean="0">
                <a:latin typeface="Times New Roman"/>
                <a:cs typeface="Times New Roman"/>
              </a:rPr>
              <a:t>  </a:t>
            </a:r>
            <a:r>
              <a:rPr sz="2000" dirty="0" err="1" smtClean="0">
                <a:latin typeface="Times New Roman"/>
                <a:cs typeface="Times New Roman"/>
              </a:rPr>
              <a:t>yüksek</a:t>
            </a:r>
            <a:r>
              <a:rPr sz="2000" dirty="0" smtClean="0">
                <a:latin typeface="Times New Roman"/>
                <a:cs typeface="Times New Roman"/>
              </a:rPr>
              <a:t> </a:t>
            </a:r>
            <a:r>
              <a:rPr sz="2000" spc="-5" dirty="0" err="1" smtClean="0">
                <a:latin typeface="Times New Roman"/>
                <a:cs typeface="Times New Roman"/>
              </a:rPr>
              <a:t>katma</a:t>
            </a:r>
            <a:r>
              <a:rPr sz="2000" spc="-5" dirty="0" smtClean="0">
                <a:latin typeface="Times New Roman"/>
                <a:cs typeface="Times New Roman"/>
              </a:rPr>
              <a:t> </a:t>
            </a:r>
            <a:r>
              <a:rPr sz="2000" dirty="0" err="1" smtClean="0">
                <a:latin typeface="Times New Roman"/>
                <a:cs typeface="Times New Roman"/>
              </a:rPr>
              <a:t>değerli</a:t>
            </a:r>
            <a:r>
              <a:rPr sz="2000" dirty="0" smtClean="0">
                <a:latin typeface="Times New Roman"/>
                <a:cs typeface="Times New Roman"/>
              </a:rPr>
              <a:t> </a:t>
            </a:r>
            <a:r>
              <a:rPr sz="2000" spc="-5" dirty="0" err="1" smtClean="0">
                <a:latin typeface="Times New Roman"/>
                <a:cs typeface="Times New Roman"/>
              </a:rPr>
              <a:t>üretimin</a:t>
            </a:r>
            <a:r>
              <a:rPr sz="2000" spc="-5" dirty="0" smtClean="0">
                <a:latin typeface="Times New Roman"/>
                <a:cs typeface="Times New Roman"/>
              </a:rPr>
              <a:t> </a:t>
            </a:r>
            <a:r>
              <a:rPr sz="2000" spc="-5" dirty="0" err="1" smtClean="0">
                <a:latin typeface="Times New Roman"/>
                <a:cs typeface="Times New Roman"/>
              </a:rPr>
              <a:t>artırılması</a:t>
            </a:r>
            <a:r>
              <a:rPr sz="2000" spc="-5" dirty="0" smtClean="0">
                <a:latin typeface="Times New Roman"/>
                <a:cs typeface="Times New Roman"/>
              </a:rPr>
              <a:t> </a:t>
            </a:r>
            <a:r>
              <a:rPr sz="2000" spc="-5" dirty="0" err="1" smtClean="0">
                <a:latin typeface="Times New Roman"/>
                <a:cs typeface="Times New Roman"/>
              </a:rPr>
              <a:t>amacıyla</a:t>
            </a:r>
            <a:r>
              <a:rPr sz="2000" spc="-5" dirty="0" smtClean="0">
                <a:latin typeface="Times New Roman"/>
                <a:cs typeface="Times New Roman"/>
              </a:rPr>
              <a:t> </a:t>
            </a:r>
            <a:r>
              <a:rPr sz="2000" spc="-5" dirty="0" err="1" smtClean="0">
                <a:latin typeface="Times New Roman"/>
                <a:cs typeface="Times New Roman"/>
              </a:rPr>
              <a:t>öncelikle</a:t>
            </a:r>
            <a:r>
              <a:rPr sz="2000" spc="-5" dirty="0" smtClean="0">
                <a:latin typeface="Times New Roman"/>
                <a:cs typeface="Times New Roman"/>
              </a:rPr>
              <a:t> </a:t>
            </a:r>
            <a:r>
              <a:rPr sz="2000" dirty="0" err="1" smtClean="0">
                <a:latin typeface="Times New Roman"/>
                <a:cs typeface="Times New Roman"/>
              </a:rPr>
              <a:t>orta</a:t>
            </a:r>
            <a:r>
              <a:rPr sz="2000" dirty="0" smtClean="0">
                <a:latin typeface="Times New Roman"/>
                <a:cs typeface="Times New Roman"/>
              </a:rPr>
              <a:t> </a:t>
            </a:r>
            <a:r>
              <a:rPr sz="2000" spc="-5" dirty="0" err="1" smtClean="0">
                <a:latin typeface="Times New Roman"/>
                <a:cs typeface="Times New Roman"/>
              </a:rPr>
              <a:t>yüksek</a:t>
            </a:r>
            <a:r>
              <a:rPr sz="2000" spc="-5" dirty="0" smtClean="0">
                <a:latin typeface="Times New Roman"/>
                <a:cs typeface="Times New Roman"/>
              </a:rPr>
              <a:t> </a:t>
            </a:r>
            <a:r>
              <a:rPr sz="2000" dirty="0" err="1" smtClean="0">
                <a:latin typeface="Times New Roman"/>
                <a:cs typeface="Times New Roman"/>
              </a:rPr>
              <a:t>ve</a:t>
            </a:r>
            <a:r>
              <a:rPr sz="2000" dirty="0" smtClean="0">
                <a:latin typeface="Times New Roman"/>
                <a:cs typeface="Times New Roman"/>
              </a:rPr>
              <a:t> </a:t>
            </a:r>
            <a:r>
              <a:rPr sz="2000" dirty="0" err="1" smtClean="0">
                <a:latin typeface="Times New Roman"/>
                <a:cs typeface="Times New Roman"/>
              </a:rPr>
              <a:t>yüksek</a:t>
            </a:r>
            <a:r>
              <a:rPr sz="2000" dirty="0" smtClean="0">
                <a:latin typeface="Times New Roman"/>
                <a:cs typeface="Times New Roman"/>
              </a:rPr>
              <a:t>  </a:t>
            </a:r>
            <a:r>
              <a:rPr sz="2000" spc="-5" dirty="0" err="1" smtClean="0">
                <a:latin typeface="Times New Roman"/>
                <a:cs typeface="Times New Roman"/>
              </a:rPr>
              <a:t>teknoloji</a:t>
            </a:r>
            <a:r>
              <a:rPr sz="2000" spc="-5" dirty="0" smtClean="0">
                <a:latin typeface="Times New Roman"/>
                <a:cs typeface="Times New Roman"/>
              </a:rPr>
              <a:t> </a:t>
            </a:r>
            <a:r>
              <a:rPr sz="2000" spc="-5" dirty="0" err="1" smtClean="0">
                <a:latin typeface="Times New Roman"/>
                <a:cs typeface="Times New Roman"/>
              </a:rPr>
              <a:t>düzeyinde</a:t>
            </a:r>
            <a:r>
              <a:rPr sz="2000" spc="-5" dirty="0" smtClean="0">
                <a:latin typeface="Times New Roman"/>
                <a:cs typeface="Times New Roman"/>
              </a:rPr>
              <a:t> </a:t>
            </a:r>
            <a:r>
              <a:rPr sz="2000" spc="-5" dirty="0" err="1" smtClean="0">
                <a:latin typeface="Times New Roman"/>
                <a:cs typeface="Times New Roman"/>
              </a:rPr>
              <a:t>faaliyet</a:t>
            </a:r>
            <a:r>
              <a:rPr sz="2000" spc="-5" dirty="0" smtClean="0">
                <a:latin typeface="Times New Roman"/>
                <a:cs typeface="Times New Roman"/>
              </a:rPr>
              <a:t> </a:t>
            </a:r>
            <a:r>
              <a:rPr sz="2000" spc="-5" dirty="0" err="1" smtClean="0">
                <a:latin typeface="Times New Roman"/>
                <a:cs typeface="Times New Roman"/>
              </a:rPr>
              <a:t>gösteren</a:t>
            </a:r>
            <a:r>
              <a:rPr sz="2000" spc="-5" dirty="0" smtClean="0">
                <a:latin typeface="Times New Roman"/>
                <a:cs typeface="Times New Roman"/>
              </a:rPr>
              <a:t> </a:t>
            </a:r>
            <a:r>
              <a:rPr sz="2000" spc="-5" dirty="0" err="1" smtClean="0">
                <a:latin typeface="Times New Roman"/>
                <a:cs typeface="Times New Roman"/>
              </a:rPr>
              <a:t>işletmelerin</a:t>
            </a:r>
            <a:r>
              <a:rPr sz="2000" spc="-5" dirty="0" smtClean="0">
                <a:latin typeface="Times New Roman"/>
                <a:cs typeface="Times New Roman"/>
              </a:rPr>
              <a:t> </a:t>
            </a:r>
            <a:r>
              <a:rPr sz="2000" spc="-5" dirty="0" err="1" smtClean="0">
                <a:latin typeface="Times New Roman"/>
                <a:cs typeface="Times New Roman"/>
              </a:rPr>
              <a:t>öncelikli</a:t>
            </a:r>
            <a:r>
              <a:rPr sz="2000" spc="-5" dirty="0" smtClean="0">
                <a:latin typeface="Times New Roman"/>
                <a:cs typeface="Times New Roman"/>
              </a:rPr>
              <a:t> </a:t>
            </a:r>
            <a:r>
              <a:rPr sz="2000" spc="-5" dirty="0" err="1" smtClean="0">
                <a:latin typeface="Times New Roman"/>
                <a:cs typeface="Times New Roman"/>
              </a:rPr>
              <a:t>sektörlerde</a:t>
            </a:r>
            <a:r>
              <a:rPr sz="2000" spc="-5" dirty="0" smtClean="0">
                <a:latin typeface="Times New Roman"/>
                <a:cs typeface="Times New Roman"/>
              </a:rPr>
              <a:t>, </a:t>
            </a:r>
            <a:r>
              <a:rPr sz="2000" spc="-5" dirty="0" err="1" smtClean="0">
                <a:latin typeface="Times New Roman"/>
                <a:cs typeface="Times New Roman"/>
              </a:rPr>
              <a:t>güçlü</a:t>
            </a:r>
            <a:r>
              <a:rPr sz="2000" spc="-5" dirty="0" smtClean="0">
                <a:latin typeface="Times New Roman"/>
                <a:cs typeface="Times New Roman"/>
              </a:rPr>
              <a:t> </a:t>
            </a:r>
            <a:r>
              <a:rPr sz="2000" spc="-5" dirty="0" err="1" smtClean="0">
                <a:latin typeface="Times New Roman"/>
                <a:cs typeface="Times New Roman"/>
              </a:rPr>
              <a:t>bir</a:t>
            </a:r>
            <a:r>
              <a:rPr sz="2000" spc="-5" dirty="0" smtClean="0">
                <a:latin typeface="Times New Roman"/>
                <a:cs typeface="Times New Roman"/>
              </a:rPr>
              <a:t> </a:t>
            </a:r>
            <a:r>
              <a:rPr sz="2000" spc="-20" dirty="0" err="1" smtClean="0">
                <a:latin typeface="Times New Roman"/>
                <a:cs typeface="Times New Roman"/>
              </a:rPr>
              <a:t>Ar</a:t>
            </a:r>
            <a:r>
              <a:rPr sz="2000" spc="-20" dirty="0" smtClean="0">
                <a:latin typeface="Times New Roman"/>
                <a:cs typeface="Times New Roman"/>
              </a:rPr>
              <a:t>-  </a:t>
            </a:r>
            <a:r>
              <a:rPr sz="2000" spc="-5" dirty="0" smtClean="0">
                <a:latin typeface="Times New Roman"/>
                <a:cs typeface="Times New Roman"/>
              </a:rPr>
              <a:t>Ge </a:t>
            </a:r>
            <a:r>
              <a:rPr sz="2000" spc="-5" dirty="0" err="1" smtClean="0">
                <a:latin typeface="Times New Roman"/>
                <a:cs typeface="Times New Roman"/>
              </a:rPr>
              <a:t>ve</a:t>
            </a:r>
            <a:r>
              <a:rPr sz="2000" spc="-5" dirty="0" smtClean="0">
                <a:latin typeface="Times New Roman"/>
                <a:cs typeface="Times New Roman"/>
              </a:rPr>
              <a:t> </a:t>
            </a:r>
            <a:r>
              <a:rPr sz="2000" spc="-5" dirty="0" err="1" smtClean="0">
                <a:latin typeface="Times New Roman"/>
                <a:cs typeface="Times New Roman"/>
              </a:rPr>
              <a:t>yenilik</a:t>
            </a:r>
            <a:r>
              <a:rPr sz="2000" spc="-5" dirty="0" smtClean="0">
                <a:latin typeface="Times New Roman"/>
                <a:cs typeface="Times New Roman"/>
              </a:rPr>
              <a:t> </a:t>
            </a:r>
            <a:r>
              <a:rPr sz="2000" spc="-5" dirty="0" err="1" smtClean="0">
                <a:latin typeface="Times New Roman"/>
                <a:cs typeface="Times New Roman"/>
              </a:rPr>
              <a:t>yaklaşımı</a:t>
            </a:r>
            <a:r>
              <a:rPr sz="2000" spc="-5" dirty="0" smtClean="0">
                <a:latin typeface="Times New Roman"/>
                <a:cs typeface="Times New Roman"/>
              </a:rPr>
              <a:t> </a:t>
            </a:r>
            <a:r>
              <a:rPr sz="2000" spc="-5" dirty="0" err="1" smtClean="0">
                <a:latin typeface="Times New Roman"/>
                <a:cs typeface="Times New Roman"/>
              </a:rPr>
              <a:t>uygulamaya</a:t>
            </a:r>
            <a:r>
              <a:rPr sz="2000" spc="-5" dirty="0" smtClean="0">
                <a:latin typeface="Times New Roman"/>
                <a:cs typeface="Times New Roman"/>
              </a:rPr>
              <a:t> </a:t>
            </a:r>
            <a:r>
              <a:rPr sz="2000" spc="-5" dirty="0" err="1" smtClean="0">
                <a:latin typeface="Times New Roman"/>
                <a:cs typeface="Times New Roman"/>
              </a:rPr>
              <a:t>konularak</a:t>
            </a:r>
            <a:r>
              <a:rPr sz="2000" spc="-5" dirty="0" smtClean="0">
                <a:latin typeface="Times New Roman"/>
                <a:cs typeface="Times New Roman"/>
              </a:rPr>
              <a:t> </a:t>
            </a:r>
            <a:r>
              <a:rPr sz="2000" dirty="0" err="1" smtClean="0">
                <a:latin typeface="Times New Roman"/>
                <a:cs typeface="Times New Roman"/>
              </a:rPr>
              <a:t>kritik</a:t>
            </a:r>
            <a:r>
              <a:rPr sz="2000" dirty="0" smtClean="0">
                <a:latin typeface="Times New Roman"/>
                <a:cs typeface="Times New Roman"/>
              </a:rPr>
              <a:t> </a:t>
            </a:r>
            <a:r>
              <a:rPr sz="2000" spc="-5" dirty="0" err="1" smtClean="0">
                <a:latin typeface="Times New Roman"/>
                <a:cs typeface="Times New Roman"/>
              </a:rPr>
              <a:t>teknolojilere</a:t>
            </a:r>
            <a:r>
              <a:rPr sz="2000" spc="-5" dirty="0" smtClean="0">
                <a:latin typeface="Times New Roman"/>
                <a:cs typeface="Times New Roman"/>
              </a:rPr>
              <a:t> </a:t>
            </a:r>
            <a:r>
              <a:rPr sz="2000" spc="-5" dirty="0" err="1" smtClean="0">
                <a:latin typeface="Times New Roman"/>
                <a:cs typeface="Times New Roman"/>
              </a:rPr>
              <a:t>yoğunlaşılarak</a:t>
            </a:r>
            <a:r>
              <a:rPr sz="2000" spc="-5" dirty="0" smtClean="0">
                <a:latin typeface="Times New Roman"/>
                <a:cs typeface="Times New Roman"/>
              </a:rPr>
              <a:t> </a:t>
            </a:r>
            <a:r>
              <a:rPr sz="2000" spc="585" dirty="0" smtClean="0">
                <a:latin typeface="Times New Roman"/>
                <a:cs typeface="Times New Roman"/>
              </a:rPr>
              <a:t> </a:t>
            </a:r>
            <a:r>
              <a:rPr sz="2000" dirty="0" err="1" smtClean="0">
                <a:latin typeface="Times New Roman"/>
                <a:cs typeface="Times New Roman"/>
              </a:rPr>
              <a:t>daha</a:t>
            </a:r>
            <a:r>
              <a:rPr sz="2000" dirty="0" smtClean="0">
                <a:latin typeface="Times New Roman"/>
                <a:cs typeface="Times New Roman"/>
              </a:rPr>
              <a:t> </a:t>
            </a:r>
            <a:r>
              <a:rPr sz="2000" dirty="0" err="1" smtClean="0">
                <a:latin typeface="Times New Roman"/>
                <a:cs typeface="Times New Roman"/>
              </a:rPr>
              <a:t>nitelikli</a:t>
            </a:r>
            <a:r>
              <a:rPr sz="2000" dirty="0" smtClean="0">
                <a:latin typeface="Times New Roman"/>
                <a:cs typeface="Times New Roman"/>
              </a:rPr>
              <a:t> </a:t>
            </a:r>
            <a:r>
              <a:rPr sz="2000" dirty="0" err="1" smtClean="0">
                <a:latin typeface="Times New Roman"/>
                <a:cs typeface="Times New Roman"/>
              </a:rPr>
              <a:t>bir</a:t>
            </a:r>
            <a:r>
              <a:rPr sz="2000" dirty="0" smtClean="0">
                <a:latin typeface="Times New Roman"/>
                <a:cs typeface="Times New Roman"/>
              </a:rPr>
              <a:t> </a:t>
            </a:r>
            <a:r>
              <a:rPr sz="2000" spc="-5" dirty="0" err="1" smtClean="0">
                <a:latin typeface="Times New Roman"/>
                <a:cs typeface="Times New Roman"/>
              </a:rPr>
              <a:t>şekilde</a:t>
            </a:r>
            <a:r>
              <a:rPr sz="2000" spc="-5" dirty="0" smtClean="0">
                <a:latin typeface="Times New Roman"/>
                <a:cs typeface="Times New Roman"/>
              </a:rPr>
              <a:t> </a:t>
            </a:r>
            <a:r>
              <a:rPr sz="2000" spc="-5" dirty="0" err="1" smtClean="0">
                <a:latin typeface="Times New Roman"/>
                <a:cs typeface="Times New Roman"/>
              </a:rPr>
              <a:t>desteklenmesini</a:t>
            </a:r>
            <a:r>
              <a:rPr sz="2000" spc="-60" dirty="0" smtClean="0">
                <a:latin typeface="Times New Roman"/>
                <a:cs typeface="Times New Roman"/>
              </a:rPr>
              <a:t> </a:t>
            </a:r>
            <a:r>
              <a:rPr sz="2000" spc="-15" dirty="0" err="1" smtClean="0">
                <a:latin typeface="Times New Roman"/>
                <a:cs typeface="Times New Roman"/>
              </a:rPr>
              <a:t>sağlamaktır</a:t>
            </a:r>
            <a:r>
              <a:rPr sz="2000" spc="-15" dirty="0" smtClean="0">
                <a:latin typeface="Times New Roman"/>
                <a:cs typeface="Times New Roman"/>
              </a:rPr>
              <a:t>.</a:t>
            </a:r>
            <a:endParaRPr lang="tr-TR" sz="2000" spc="-15" dirty="0" smtClean="0">
              <a:latin typeface="Times New Roman"/>
              <a:cs typeface="Times New Roman"/>
            </a:endParaRPr>
          </a:p>
          <a:p>
            <a:pPr marL="467995" marR="5080" algn="just">
              <a:lnSpc>
                <a:spcPct val="100000"/>
              </a:lnSpc>
            </a:pPr>
            <a:endParaRPr lang="tr-TR" sz="1600" dirty="0" smtClean="0">
              <a:latin typeface="Times New Roman" panose="02020603050405020304" pitchFamily="18" charset="0"/>
              <a:cs typeface="Times New Roman" panose="02020603050405020304" pitchFamily="18" charset="0"/>
            </a:endParaRPr>
          </a:p>
          <a:p>
            <a:pPr marL="810895" marR="5080" indent="-342900" algn="just">
              <a:lnSpc>
                <a:spcPct val="100000"/>
              </a:lnSpc>
              <a:buFont typeface="+mj-lt"/>
              <a:buAutoNum type="arabicPeriod"/>
            </a:pPr>
            <a:r>
              <a:rPr lang="tr-TR" sz="1600" dirty="0" smtClean="0">
                <a:latin typeface="Times New Roman" panose="02020603050405020304" pitchFamily="18" charset="0"/>
                <a:cs typeface="Times New Roman" panose="02020603050405020304" pitchFamily="18" charset="0"/>
              </a:rPr>
              <a:t>Otomotiv sanayiinin rekabet gücünün korunarak geliştirilmesi amacıyla; küresel gelişmeler, yeni teknolojiler ve değişen müşteri beklentileri çerçevesinde Otomotiv sektöründe olmak üzere Elektrikli ve/veya hidrojen ile çalışan motorlu kara araçları ile pil(batarya) teknolojileri, yakıt hücresi konularında Ar-Ge ve </a:t>
            </a:r>
            <a:r>
              <a:rPr lang="tr-TR" sz="1600" dirty="0" err="1" smtClean="0">
                <a:latin typeface="Times New Roman" panose="02020603050405020304" pitchFamily="18" charset="0"/>
                <a:cs typeface="Times New Roman" panose="02020603050405020304" pitchFamily="18" charset="0"/>
              </a:rPr>
              <a:t>İnovasyon</a:t>
            </a:r>
            <a:r>
              <a:rPr lang="tr-TR" sz="1600" dirty="0" smtClean="0">
                <a:latin typeface="Times New Roman" panose="02020603050405020304" pitchFamily="18" charset="0"/>
                <a:cs typeface="Times New Roman" panose="02020603050405020304" pitchFamily="18" charset="0"/>
              </a:rPr>
              <a:t> ile </a:t>
            </a:r>
            <a:r>
              <a:rPr lang="tr-TR" sz="1600" dirty="0" err="1" smtClean="0">
                <a:latin typeface="Times New Roman" panose="02020603050405020304" pitchFamily="18" charset="0"/>
                <a:cs typeface="Times New Roman" panose="02020603050405020304" pitchFamily="18" charset="0"/>
              </a:rPr>
              <a:t>ÜrGe</a:t>
            </a:r>
            <a:r>
              <a:rPr lang="tr-TR" sz="1600" dirty="0" smtClean="0">
                <a:latin typeface="Times New Roman" panose="02020603050405020304" pitchFamily="18" charset="0"/>
                <a:cs typeface="Times New Roman" panose="02020603050405020304" pitchFamily="18" charset="0"/>
              </a:rPr>
              <a:t> proje fikirlerinin desteklenmesi amaçlanmıştır.</a:t>
            </a:r>
          </a:p>
          <a:p>
            <a:pPr marL="810895" marR="5080" indent="-342900" algn="just">
              <a:lnSpc>
                <a:spcPct val="100000"/>
              </a:lnSpc>
              <a:buFont typeface="+mj-lt"/>
              <a:buAutoNum type="arabicPeriod"/>
            </a:pPr>
            <a:endParaRPr lang="tr-TR" sz="1600" dirty="0">
              <a:latin typeface="Times New Roman" panose="02020603050405020304" pitchFamily="18" charset="0"/>
              <a:cs typeface="Times New Roman" panose="02020603050405020304" pitchFamily="18" charset="0"/>
            </a:endParaRPr>
          </a:p>
          <a:p>
            <a:pPr marL="810895" marR="5080" indent="-342900" algn="just">
              <a:lnSpc>
                <a:spcPct val="100000"/>
              </a:lnSpc>
              <a:buFont typeface="+mj-lt"/>
              <a:buAutoNum type="arabicPeriod"/>
            </a:pPr>
            <a:r>
              <a:rPr lang="tr-TR" sz="1600" dirty="0" smtClean="0">
                <a:latin typeface="Times New Roman" panose="02020603050405020304" pitchFamily="18" charset="0"/>
                <a:cs typeface="Times New Roman" panose="02020603050405020304" pitchFamily="18" charset="0"/>
              </a:rPr>
              <a:t>Elektronik sektöründe Ar-Ge’ye dayalı rekabetçi üretim ve ihracatın artırılması amacıyla ilgili sektörlerde faaliyet gösteren işletmelerin 5G ve ötesi teknolojiler dâhil olmak üzere yerli elektronik haberleşme şebeke ve altyapı bileşenleri kapsamında yeni nesil mobil haberleşme teknolojilerini konularında Ar-Ge ve </a:t>
            </a:r>
            <a:r>
              <a:rPr lang="tr-TR" sz="1600" dirty="0" err="1" smtClean="0">
                <a:latin typeface="Times New Roman" panose="02020603050405020304" pitchFamily="18" charset="0"/>
                <a:cs typeface="Times New Roman" panose="02020603050405020304" pitchFamily="18" charset="0"/>
              </a:rPr>
              <a:t>İnovasyon</a:t>
            </a:r>
            <a:r>
              <a:rPr lang="tr-TR" sz="1600" dirty="0" smtClean="0">
                <a:latin typeface="Times New Roman" panose="02020603050405020304" pitchFamily="18" charset="0"/>
                <a:cs typeface="Times New Roman" panose="02020603050405020304" pitchFamily="18" charset="0"/>
              </a:rPr>
              <a:t> ile </a:t>
            </a:r>
            <a:r>
              <a:rPr lang="tr-TR" sz="1600" dirty="0" err="1" smtClean="0">
                <a:latin typeface="Times New Roman" panose="02020603050405020304" pitchFamily="18" charset="0"/>
                <a:cs typeface="Times New Roman" panose="02020603050405020304" pitchFamily="18" charset="0"/>
              </a:rPr>
              <a:t>Ür</a:t>
            </a:r>
            <a:r>
              <a:rPr lang="tr-TR" sz="1600" dirty="0" smtClean="0">
                <a:latin typeface="Times New Roman" panose="02020603050405020304" pitchFamily="18" charset="0"/>
                <a:cs typeface="Times New Roman" panose="02020603050405020304" pitchFamily="18" charset="0"/>
              </a:rPr>
              <a:t>-Ge proje fikirlerinin desteklenmesi amaçlanmıştır.</a:t>
            </a:r>
            <a:endParaRPr lang="tr-TR" sz="1600" spc="-15" dirty="0" smtClean="0">
              <a:latin typeface="Times New Roman" panose="02020603050405020304" pitchFamily="18" charset="0"/>
              <a:cs typeface="Times New Roman" panose="02020603050405020304" pitchFamily="18" charset="0"/>
            </a:endParaRPr>
          </a:p>
          <a:p>
            <a:pPr marL="467995" marR="5080" algn="just">
              <a:lnSpc>
                <a:spcPct val="100000"/>
              </a:lnSpc>
            </a:pPr>
            <a:endParaRPr dirty="0" smtClean="0">
              <a:latin typeface="Times New Roman"/>
              <a:cs typeface="Times New Roman"/>
            </a:endParaRPr>
          </a:p>
        </p:txBody>
      </p:sp>
    </p:spTree>
    <p:extLst>
      <p:ext uri="{BB962C8B-B14F-4D97-AF65-F5344CB8AC3E}">
        <p14:creationId xmlns:p14="http://schemas.microsoft.com/office/powerpoint/2010/main" val="1545505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937747" y="333756"/>
            <a:ext cx="960120" cy="676656"/>
          </a:xfrm>
          <a:prstGeom prst="rect">
            <a:avLst/>
          </a:prstGeom>
          <a:blipFill>
            <a:blip r:embed="rId2"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422147" y="234785"/>
            <a:ext cx="10514666" cy="874598"/>
          </a:xfrm>
          <a:prstGeom prst="rect">
            <a:avLst/>
          </a:prstGeom>
        </p:spPr>
        <p:txBody>
          <a:bodyPr vert="horz" wrap="square" lIns="0" tIns="12700" rIns="0" bIns="0" rtlCol="0" anchor="ctr">
            <a:spAutoFit/>
          </a:bodyPr>
          <a:lstStyle/>
          <a:p>
            <a:pPr marL="12700">
              <a:lnSpc>
                <a:spcPct val="100000"/>
              </a:lnSpc>
              <a:spcBef>
                <a:spcPts val="100"/>
              </a:spcBef>
            </a:pPr>
            <a:r>
              <a:rPr sz="2800" b="1" spc="-20" dirty="0">
                <a:solidFill>
                  <a:srgbClr val="0F243E"/>
                </a:solidFill>
                <a:effectLst>
                  <a:outerShdw blurRad="38100" dist="38100" dir="2700000" algn="tl">
                    <a:srgbClr val="000000">
                      <a:alpha val="43137"/>
                    </a:srgbClr>
                  </a:outerShdw>
                </a:effectLst>
                <a:latin typeface="Times New Roman"/>
                <a:cs typeface="Times New Roman"/>
              </a:rPr>
              <a:t>Ar-Ge, Ür-Ge ve İnovasyon </a:t>
            </a:r>
            <a:r>
              <a:rPr sz="2800" b="1" spc="-20" dirty="0" err="1">
                <a:solidFill>
                  <a:srgbClr val="0F243E"/>
                </a:solidFill>
                <a:effectLst>
                  <a:outerShdw blurRad="38100" dist="38100" dir="2700000" algn="tl">
                    <a:srgbClr val="000000">
                      <a:alpha val="43137"/>
                    </a:srgbClr>
                  </a:outerShdw>
                </a:effectLst>
                <a:latin typeface="Times New Roman"/>
                <a:cs typeface="Times New Roman"/>
              </a:rPr>
              <a:t>Destek</a:t>
            </a:r>
            <a:r>
              <a:rPr sz="2800" b="1" spc="-20" dirty="0">
                <a:solidFill>
                  <a:srgbClr val="0F243E"/>
                </a:solidFill>
                <a:effectLst>
                  <a:outerShdw blurRad="38100" dist="38100" dir="2700000" algn="tl">
                    <a:srgbClr val="000000">
                      <a:alpha val="43137"/>
                    </a:srgbClr>
                  </a:outerShdw>
                </a:effectLst>
                <a:latin typeface="Times New Roman"/>
                <a:cs typeface="Times New Roman"/>
              </a:rPr>
              <a:t> </a:t>
            </a:r>
            <a:r>
              <a:rPr sz="2800" b="1" spc="-20" dirty="0" err="1">
                <a:solidFill>
                  <a:srgbClr val="0F243E"/>
                </a:solidFill>
                <a:effectLst>
                  <a:outerShdw blurRad="38100" dist="38100" dir="2700000" algn="tl">
                    <a:srgbClr val="000000">
                      <a:alpha val="43137"/>
                    </a:srgbClr>
                  </a:outerShdw>
                </a:effectLst>
                <a:latin typeface="Times New Roman"/>
                <a:cs typeface="Times New Roman"/>
              </a:rPr>
              <a:t>Programı</a:t>
            </a:r>
            <a:r>
              <a:rPr lang="tr-TR" sz="2800" b="1" spc="-20" dirty="0">
                <a:solidFill>
                  <a:srgbClr val="0F243E"/>
                </a:solidFill>
                <a:effectLst>
                  <a:outerShdw blurRad="38100" dist="38100" dir="2700000" algn="tl">
                    <a:srgbClr val="000000">
                      <a:alpha val="43137"/>
                    </a:srgbClr>
                  </a:outerShdw>
                </a:effectLst>
                <a:latin typeface="Times New Roman"/>
                <a:cs typeface="Times New Roman"/>
              </a:rPr>
              <a:t/>
            </a:r>
            <a:br>
              <a:rPr lang="tr-TR" sz="2800" b="1" spc="-20" dirty="0">
                <a:solidFill>
                  <a:srgbClr val="0F243E"/>
                </a:solidFill>
                <a:effectLst>
                  <a:outerShdw blurRad="38100" dist="38100" dir="2700000" algn="tl">
                    <a:srgbClr val="000000">
                      <a:alpha val="43137"/>
                    </a:srgbClr>
                  </a:outerShdw>
                </a:effectLst>
                <a:latin typeface="Times New Roman"/>
                <a:cs typeface="Times New Roman"/>
              </a:rPr>
            </a:br>
            <a:r>
              <a:rPr lang="tr-TR" sz="2800" b="1" spc="-20" dirty="0">
                <a:solidFill>
                  <a:srgbClr val="0F243E"/>
                </a:solidFill>
                <a:effectLst>
                  <a:outerShdw blurRad="38100" dist="38100" dir="2700000" algn="tl">
                    <a:srgbClr val="000000">
                      <a:alpha val="43137"/>
                    </a:srgbClr>
                  </a:outerShdw>
                </a:effectLst>
                <a:latin typeface="Times New Roman"/>
                <a:cs typeface="Times New Roman"/>
              </a:rPr>
              <a:t>2021-01 Proje Teklif Çağrısı</a:t>
            </a:r>
            <a:endParaRPr sz="2800" b="1" spc="-20" dirty="0">
              <a:solidFill>
                <a:srgbClr val="0F243E"/>
              </a:solidFill>
              <a:effectLst>
                <a:outerShdw blurRad="38100" dist="38100" dir="2700000" algn="tl">
                  <a:srgbClr val="000000">
                    <a:alpha val="43137"/>
                  </a:srgbClr>
                </a:outerShdw>
              </a:effectLst>
              <a:latin typeface="Times New Roman"/>
              <a:cs typeface="Times New Roman"/>
            </a:endParaRPr>
          </a:p>
        </p:txBody>
      </p:sp>
      <p:sp>
        <p:nvSpPr>
          <p:cNvPr id="3" name="İçerik Yer Tutucusu 2"/>
          <p:cNvSpPr>
            <a:spLocks noGrp="1"/>
          </p:cNvSpPr>
          <p:nvPr>
            <p:ph idx="1"/>
          </p:nvPr>
        </p:nvSpPr>
        <p:spPr>
          <a:xfrm>
            <a:off x="422147" y="1869743"/>
            <a:ext cx="11505995" cy="3411941"/>
          </a:xfrm>
        </p:spPr>
        <p:txBody>
          <a:bodyPr/>
          <a:lstStyle/>
          <a:p>
            <a:pPr marL="467995" lvl="0" indent="0" algn="just">
              <a:lnSpc>
                <a:spcPct val="100000"/>
              </a:lnSpc>
              <a:spcBef>
                <a:spcPts val="0"/>
              </a:spcBef>
              <a:buNone/>
              <a:tabLst>
                <a:tab pos="812165" algn="l"/>
              </a:tabLst>
            </a:pPr>
            <a:endParaRPr lang="tr-TR" sz="2400" b="1" dirty="0" smtClean="0">
              <a:solidFill>
                <a:schemeClr val="accent4"/>
              </a:solidFill>
              <a:latin typeface="Times New Roman"/>
              <a:cs typeface="Times New Roman"/>
            </a:endParaRPr>
          </a:p>
          <a:p>
            <a:pPr marL="467995" lvl="0" indent="0" algn="just">
              <a:lnSpc>
                <a:spcPct val="100000"/>
              </a:lnSpc>
              <a:spcBef>
                <a:spcPts val="0"/>
              </a:spcBef>
              <a:buNone/>
              <a:tabLst>
                <a:tab pos="812165" algn="l"/>
              </a:tabLst>
            </a:pPr>
            <a:endParaRPr lang="tr-TR" sz="2400" b="1" dirty="0">
              <a:solidFill>
                <a:schemeClr val="accent4"/>
              </a:solidFill>
              <a:latin typeface="Times New Roman"/>
              <a:cs typeface="Times New Roman"/>
            </a:endParaRPr>
          </a:p>
          <a:p>
            <a:pPr marL="467995" lvl="0" indent="0" algn="just">
              <a:lnSpc>
                <a:spcPct val="100000"/>
              </a:lnSpc>
              <a:spcBef>
                <a:spcPts val="0"/>
              </a:spcBef>
              <a:buNone/>
              <a:tabLst>
                <a:tab pos="812165" algn="l"/>
              </a:tabLst>
            </a:pPr>
            <a:endParaRPr lang="tr-TR" sz="2400" b="1" dirty="0" smtClean="0">
              <a:solidFill>
                <a:schemeClr val="accent4"/>
              </a:solidFill>
              <a:latin typeface="Times New Roman"/>
              <a:cs typeface="Times New Roman"/>
            </a:endParaRPr>
          </a:p>
          <a:p>
            <a:pPr marL="467995" lvl="0" indent="0" algn="just">
              <a:lnSpc>
                <a:spcPct val="100000"/>
              </a:lnSpc>
              <a:spcBef>
                <a:spcPts val="0"/>
              </a:spcBef>
              <a:buNone/>
              <a:tabLst>
                <a:tab pos="812165" algn="l"/>
              </a:tabLst>
            </a:pPr>
            <a:r>
              <a:rPr lang="tr-TR" sz="2400" b="1" dirty="0" smtClean="0">
                <a:solidFill>
                  <a:schemeClr val="accent4"/>
                </a:solidFill>
                <a:latin typeface="Times New Roman"/>
                <a:cs typeface="Times New Roman"/>
              </a:rPr>
              <a:t>Başvuru</a:t>
            </a:r>
            <a:r>
              <a:rPr lang="tr-TR" sz="2400" b="1" spc="-140" dirty="0" smtClean="0">
                <a:solidFill>
                  <a:schemeClr val="accent4"/>
                </a:solidFill>
                <a:latin typeface="Times New Roman"/>
                <a:cs typeface="Times New Roman"/>
              </a:rPr>
              <a:t> </a:t>
            </a:r>
            <a:r>
              <a:rPr lang="tr-TR" sz="2400" b="1" spc="-25" dirty="0" smtClean="0">
                <a:solidFill>
                  <a:schemeClr val="accent4"/>
                </a:solidFill>
                <a:latin typeface="Times New Roman"/>
                <a:cs typeface="Times New Roman"/>
              </a:rPr>
              <a:t>Tarihleri</a:t>
            </a:r>
          </a:p>
          <a:p>
            <a:pPr marL="467995" lvl="0" indent="0" algn="just">
              <a:lnSpc>
                <a:spcPct val="100000"/>
              </a:lnSpc>
              <a:spcBef>
                <a:spcPts val="0"/>
              </a:spcBef>
              <a:buNone/>
              <a:tabLst>
                <a:tab pos="812165" algn="l"/>
              </a:tabLst>
            </a:pPr>
            <a:endParaRPr lang="tr-TR" sz="2400" b="1" dirty="0">
              <a:solidFill>
                <a:schemeClr val="accent4"/>
              </a:solidFill>
              <a:latin typeface="Times New Roman"/>
              <a:cs typeface="Times New Roman"/>
            </a:endParaRPr>
          </a:p>
          <a:p>
            <a:pPr marL="467995" lvl="0" indent="0" algn="just">
              <a:lnSpc>
                <a:spcPct val="100000"/>
              </a:lnSpc>
              <a:spcBef>
                <a:spcPts val="0"/>
              </a:spcBef>
              <a:buNone/>
            </a:pPr>
            <a:r>
              <a:rPr lang="tr-TR" sz="2400" spc="-5" dirty="0">
                <a:solidFill>
                  <a:prstClr val="black"/>
                </a:solidFill>
                <a:latin typeface="Times New Roman"/>
                <a:cs typeface="Times New Roman"/>
              </a:rPr>
              <a:t>25 </a:t>
            </a:r>
            <a:r>
              <a:rPr lang="tr-TR" sz="2400" dirty="0">
                <a:solidFill>
                  <a:prstClr val="black"/>
                </a:solidFill>
                <a:latin typeface="Times New Roman"/>
                <a:cs typeface="Times New Roman"/>
              </a:rPr>
              <a:t>Mart– </a:t>
            </a:r>
            <a:r>
              <a:rPr lang="tr-TR" sz="2400" spc="-5" dirty="0">
                <a:solidFill>
                  <a:prstClr val="black"/>
                </a:solidFill>
                <a:latin typeface="Times New Roman"/>
                <a:cs typeface="Times New Roman"/>
              </a:rPr>
              <a:t>18 Mayıs </a:t>
            </a:r>
            <a:r>
              <a:rPr lang="tr-TR" sz="2400" dirty="0">
                <a:solidFill>
                  <a:prstClr val="black"/>
                </a:solidFill>
                <a:latin typeface="Times New Roman"/>
                <a:cs typeface="Times New Roman"/>
              </a:rPr>
              <a:t>2021</a:t>
            </a:r>
          </a:p>
          <a:p>
            <a:pPr marL="467995" lvl="0" indent="0" algn="just">
              <a:lnSpc>
                <a:spcPct val="100000"/>
              </a:lnSpc>
              <a:spcBef>
                <a:spcPts val="0"/>
              </a:spcBef>
              <a:buNone/>
            </a:pPr>
            <a:r>
              <a:rPr lang="tr-TR" sz="2400" dirty="0">
                <a:solidFill>
                  <a:prstClr val="black"/>
                </a:solidFill>
                <a:latin typeface="Times New Roman"/>
                <a:cs typeface="Times New Roman"/>
              </a:rPr>
              <a:t>20 </a:t>
            </a:r>
            <a:r>
              <a:rPr lang="tr-TR" sz="2400" spc="-5" dirty="0">
                <a:solidFill>
                  <a:prstClr val="black"/>
                </a:solidFill>
                <a:latin typeface="Times New Roman"/>
                <a:cs typeface="Times New Roman"/>
              </a:rPr>
              <a:t>Mayıs </a:t>
            </a:r>
            <a:r>
              <a:rPr lang="tr-TR" sz="2400" dirty="0">
                <a:solidFill>
                  <a:prstClr val="black"/>
                </a:solidFill>
                <a:latin typeface="Times New Roman"/>
                <a:cs typeface="Times New Roman"/>
              </a:rPr>
              <a:t>– 24 </a:t>
            </a:r>
            <a:r>
              <a:rPr lang="tr-TR" sz="2400" spc="-5" dirty="0">
                <a:solidFill>
                  <a:prstClr val="black"/>
                </a:solidFill>
                <a:latin typeface="Times New Roman"/>
                <a:cs typeface="Times New Roman"/>
              </a:rPr>
              <a:t>Mayıs </a:t>
            </a:r>
            <a:r>
              <a:rPr lang="tr-TR" sz="2400" dirty="0">
                <a:solidFill>
                  <a:prstClr val="black"/>
                </a:solidFill>
                <a:latin typeface="Times New Roman"/>
                <a:cs typeface="Times New Roman"/>
              </a:rPr>
              <a:t>2021 </a:t>
            </a:r>
            <a:r>
              <a:rPr lang="tr-TR" sz="2400" spc="-5" dirty="0">
                <a:solidFill>
                  <a:prstClr val="black"/>
                </a:solidFill>
                <a:latin typeface="Times New Roman"/>
                <a:cs typeface="Times New Roman"/>
              </a:rPr>
              <a:t>(Mazeretli Başvuru Onaylama </a:t>
            </a:r>
            <a:r>
              <a:rPr lang="tr-TR" sz="2400" spc="-20" dirty="0">
                <a:solidFill>
                  <a:prstClr val="black"/>
                </a:solidFill>
                <a:latin typeface="Times New Roman"/>
                <a:cs typeface="Times New Roman"/>
              </a:rPr>
              <a:t>Tarihleri</a:t>
            </a:r>
            <a:r>
              <a:rPr lang="tr-TR" sz="2400" spc="-10" dirty="0">
                <a:solidFill>
                  <a:prstClr val="black"/>
                </a:solidFill>
                <a:latin typeface="Times New Roman"/>
                <a:cs typeface="Times New Roman"/>
              </a:rPr>
              <a:t>)</a:t>
            </a:r>
          </a:p>
          <a:p>
            <a:pPr marL="467995" lvl="0" indent="0" algn="just">
              <a:lnSpc>
                <a:spcPct val="100000"/>
              </a:lnSpc>
              <a:spcBef>
                <a:spcPts val="0"/>
              </a:spcBef>
              <a:buNone/>
            </a:pPr>
            <a:endParaRPr lang="tr-TR" sz="2400" spc="-10" dirty="0" smtClean="0">
              <a:solidFill>
                <a:prstClr val="black"/>
              </a:solidFill>
              <a:latin typeface="Times New Roman"/>
              <a:cs typeface="Times New Roman"/>
            </a:endParaRPr>
          </a:p>
          <a:p>
            <a:pPr marL="467995" lvl="0" indent="0" algn="just">
              <a:lnSpc>
                <a:spcPct val="100000"/>
              </a:lnSpc>
              <a:spcBef>
                <a:spcPts val="0"/>
              </a:spcBef>
              <a:buNone/>
            </a:pPr>
            <a:endParaRPr lang="tr-TR" sz="2400" spc="-10" dirty="0" smtClean="0">
              <a:solidFill>
                <a:prstClr val="black"/>
              </a:solidFill>
              <a:latin typeface="Times New Roman"/>
              <a:cs typeface="Times New Roman"/>
            </a:endParaRPr>
          </a:p>
          <a:p>
            <a:pPr marL="467995" indent="0" algn="just">
              <a:lnSpc>
                <a:spcPct val="100000"/>
              </a:lnSpc>
              <a:spcBef>
                <a:spcPts val="0"/>
              </a:spcBef>
              <a:buNone/>
              <a:tabLst>
                <a:tab pos="812165" algn="l"/>
              </a:tabLst>
            </a:pPr>
            <a:endParaRPr lang="tr-TR" sz="2400" dirty="0" smtClean="0">
              <a:latin typeface="Times New Roman" panose="02020603050405020304" pitchFamily="18" charset="0"/>
              <a:cs typeface="Times New Roman" panose="02020603050405020304" pitchFamily="18" charset="0"/>
            </a:endParaRPr>
          </a:p>
          <a:p>
            <a:pPr marL="467995" indent="0" algn="just">
              <a:lnSpc>
                <a:spcPct val="100000"/>
              </a:lnSpc>
              <a:spcBef>
                <a:spcPts val="0"/>
              </a:spcBef>
              <a:buNone/>
              <a:tabLst>
                <a:tab pos="812165" algn="l"/>
              </a:tabLst>
            </a:pPr>
            <a:endParaRPr lang="tr-TR" sz="2400" spc="-5"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38665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3"/>
          <p:cNvPicPr>
            <a:picLocks noChangeAspect="1" noChangeArrowheads="1"/>
          </p:cNvPicPr>
          <p:nvPr/>
        </p:nvPicPr>
        <p:blipFill>
          <a:blip r:embed="rId9" cstate="print"/>
          <a:srcRect/>
          <a:stretch>
            <a:fillRect/>
          </a:stretch>
        </p:blipFill>
        <p:spPr bwMode="auto">
          <a:xfrm>
            <a:off x="10896533" y="346189"/>
            <a:ext cx="960106" cy="677217"/>
          </a:xfrm>
          <a:prstGeom prst="rect">
            <a:avLst/>
          </a:prstGeom>
          <a:noFill/>
          <a:ln w="9525">
            <a:noFill/>
            <a:miter lim="800000"/>
            <a:headEnd/>
            <a:tailEnd/>
          </a:ln>
        </p:spPr>
      </p:pic>
      <p:sp>
        <p:nvSpPr>
          <p:cNvPr id="115" name="5 Metin kutusu"/>
          <p:cNvSpPr txBox="1"/>
          <p:nvPr/>
        </p:nvSpPr>
        <p:spPr>
          <a:xfrm>
            <a:off x="337131" y="1057140"/>
            <a:ext cx="5415842" cy="46307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2409" b="1" i="0" u="none" strike="noStrike" kern="1200" cap="none" spc="0" normalizeH="0" baseline="0" noProof="0" dirty="0" err="1">
                <a:ln>
                  <a:noFill/>
                </a:ln>
                <a:solidFill>
                  <a:srgbClr val="C00000"/>
                </a:solidFill>
                <a:effectLst/>
                <a:uLnTx/>
                <a:uFillTx/>
                <a:latin typeface="Times New Roman" panose="02020603050405020304" pitchFamily="18" charset="0"/>
                <a:ea typeface="ヒラギノ角ゴ Pro W3" pitchFamily="1" charset="-128"/>
                <a:cs typeface="Times New Roman" panose="02020603050405020304" pitchFamily="18" charset="0"/>
              </a:rPr>
              <a:t>Ür</a:t>
            </a:r>
            <a:r>
              <a:rPr kumimoji="0" lang="tr-TR" sz="2409" b="1" i="0" u="none" strike="noStrike" kern="1200" cap="none" spc="0" normalizeH="0" baseline="0" noProof="0" dirty="0">
                <a:ln>
                  <a:noFill/>
                </a:ln>
                <a:solidFill>
                  <a:srgbClr val="C00000"/>
                </a:solidFill>
                <a:effectLst/>
                <a:uLnTx/>
                <a:uFillTx/>
                <a:latin typeface="Times New Roman" panose="02020603050405020304" pitchFamily="18" charset="0"/>
                <a:ea typeface="ヒラギノ角ゴ Pro W3" pitchFamily="1" charset="-128"/>
                <a:cs typeface="Times New Roman" panose="02020603050405020304" pitchFamily="18" charset="0"/>
              </a:rPr>
              <a:t>-Ge projesi kapsamında işletmelerin;</a:t>
            </a:r>
          </a:p>
        </p:txBody>
      </p:sp>
      <p:sp>
        <p:nvSpPr>
          <p:cNvPr id="91" name="4 Metin kutusu">
            <a:extLst>
              <a:ext uri="{FF2B5EF4-FFF2-40B4-BE49-F238E27FC236}">
                <a16:creationId xmlns:a16="http://schemas.microsoft.com/office/drawing/2014/main" id="{87EDE463-AB58-4AB9-BA35-DEE7FB6FF97D}"/>
              </a:ext>
            </a:extLst>
          </p:cNvPr>
          <p:cNvSpPr txBox="1"/>
          <p:nvPr/>
        </p:nvSpPr>
        <p:spPr>
          <a:xfrm>
            <a:off x="285257" y="169921"/>
            <a:ext cx="10849205" cy="954107"/>
          </a:xfrm>
          <a:prstGeom prst="rect">
            <a:avLst/>
          </a:prstGeom>
          <a:noFill/>
        </p:spPr>
        <p:txBody>
          <a:bodyPr wrap="square" rtlCol="0">
            <a:spAutoFit/>
          </a:bodyPr>
          <a:lstStyle/>
          <a:p>
            <a:pPr lvl="0" fontAlgn="base">
              <a:spcBef>
                <a:spcPct val="0"/>
              </a:spcBef>
              <a:spcAft>
                <a:spcPct val="0"/>
              </a:spcAft>
              <a:defRPr/>
            </a:pPr>
            <a:r>
              <a:rPr lang="tr-TR" sz="2800" b="1" spc="-20" dirty="0">
                <a:solidFill>
                  <a:srgbClr val="0F243E"/>
                </a:solidFill>
                <a:effectLst>
                  <a:outerShdw blurRad="38100" dist="38100" dir="2700000" algn="tl">
                    <a:srgbClr val="000000">
                      <a:alpha val="43137"/>
                    </a:srgbClr>
                  </a:outerShdw>
                </a:effectLst>
                <a:latin typeface="Times New Roman"/>
                <a:ea typeface="+mj-ea"/>
                <a:cs typeface="Times New Roman"/>
              </a:rPr>
              <a:t>Ar-Ge, </a:t>
            </a:r>
            <a:r>
              <a:rPr lang="tr-TR" sz="2800" b="1" spc="-20" dirty="0" err="1">
                <a:solidFill>
                  <a:srgbClr val="0F243E"/>
                </a:solidFill>
                <a:effectLst>
                  <a:outerShdw blurRad="38100" dist="38100" dir="2700000" algn="tl">
                    <a:srgbClr val="000000">
                      <a:alpha val="43137"/>
                    </a:srgbClr>
                  </a:outerShdw>
                </a:effectLst>
                <a:latin typeface="Times New Roman"/>
                <a:ea typeface="+mj-ea"/>
                <a:cs typeface="Times New Roman"/>
              </a:rPr>
              <a:t>Ür</a:t>
            </a:r>
            <a:r>
              <a:rPr lang="tr-TR" sz="2800" b="1" spc="-20" dirty="0">
                <a:solidFill>
                  <a:srgbClr val="0F243E"/>
                </a:solidFill>
                <a:effectLst>
                  <a:outerShdw blurRad="38100" dist="38100" dir="2700000" algn="tl">
                    <a:srgbClr val="000000">
                      <a:alpha val="43137"/>
                    </a:srgbClr>
                  </a:outerShdw>
                </a:effectLst>
                <a:latin typeface="Times New Roman"/>
                <a:ea typeface="+mj-ea"/>
                <a:cs typeface="Times New Roman"/>
              </a:rPr>
              <a:t>-Ge ve </a:t>
            </a:r>
            <a:r>
              <a:rPr lang="tr-TR" sz="2800" b="1" spc="-20" dirty="0" err="1">
                <a:solidFill>
                  <a:srgbClr val="0F243E"/>
                </a:solidFill>
                <a:effectLst>
                  <a:outerShdw blurRad="38100" dist="38100" dir="2700000" algn="tl">
                    <a:srgbClr val="000000">
                      <a:alpha val="43137"/>
                    </a:srgbClr>
                  </a:outerShdw>
                </a:effectLst>
                <a:latin typeface="Times New Roman"/>
                <a:ea typeface="+mj-ea"/>
                <a:cs typeface="Times New Roman"/>
              </a:rPr>
              <a:t>İnovasyon</a:t>
            </a:r>
            <a:r>
              <a:rPr lang="tr-TR" sz="2800" b="1" spc="-20" dirty="0">
                <a:solidFill>
                  <a:srgbClr val="0F243E"/>
                </a:solidFill>
                <a:effectLst>
                  <a:outerShdw blurRad="38100" dist="38100" dir="2700000" algn="tl">
                    <a:srgbClr val="000000">
                      <a:alpha val="43137"/>
                    </a:srgbClr>
                  </a:outerShdw>
                </a:effectLst>
                <a:latin typeface="Times New Roman"/>
                <a:ea typeface="+mj-ea"/>
                <a:cs typeface="Times New Roman"/>
              </a:rPr>
              <a:t> Destek Programı</a:t>
            </a:r>
            <a:br>
              <a:rPr lang="tr-TR" sz="2800" b="1" spc="-20" dirty="0">
                <a:solidFill>
                  <a:srgbClr val="0F243E"/>
                </a:solidFill>
                <a:effectLst>
                  <a:outerShdw blurRad="38100" dist="38100" dir="2700000" algn="tl">
                    <a:srgbClr val="000000">
                      <a:alpha val="43137"/>
                    </a:srgbClr>
                  </a:outerShdw>
                </a:effectLst>
                <a:latin typeface="Times New Roman"/>
                <a:ea typeface="+mj-ea"/>
                <a:cs typeface="Times New Roman"/>
              </a:rPr>
            </a:br>
            <a:r>
              <a:rPr lang="tr-TR" sz="2800" b="1" spc="-20" dirty="0">
                <a:solidFill>
                  <a:srgbClr val="0F243E"/>
                </a:solidFill>
                <a:effectLst>
                  <a:outerShdw blurRad="38100" dist="38100" dir="2700000" algn="tl">
                    <a:srgbClr val="000000">
                      <a:alpha val="43137"/>
                    </a:srgbClr>
                  </a:outerShdw>
                </a:effectLst>
                <a:latin typeface="Times New Roman"/>
                <a:ea typeface="+mj-ea"/>
                <a:cs typeface="Times New Roman"/>
              </a:rPr>
              <a:t>2021-01 Proje Teklif Çağrısı</a:t>
            </a:r>
            <a:endParaRPr kumimoji="0" lang="tr-TR" sz="3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0" name="Rectangle 7">
            <a:extLst>
              <a:ext uri="{FF2B5EF4-FFF2-40B4-BE49-F238E27FC236}">
                <a16:creationId xmlns:a16="http://schemas.microsoft.com/office/drawing/2014/main" id="{59298C8A-A535-4ACC-90C7-A327AC0B73B5}"/>
              </a:ext>
            </a:extLst>
          </p:cNvPr>
          <p:cNvSpPr/>
          <p:nvPr/>
        </p:nvSpPr>
        <p:spPr>
          <a:xfrm>
            <a:off x="1112084" y="1590247"/>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7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9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prstClr val="black"/>
                </a:solidFill>
                <a:effectLst/>
                <a:uLnTx/>
                <a:uFillTx/>
                <a:latin typeface="Calibri"/>
                <a:ea typeface="+mn-ea"/>
                <a:cs typeface="+mn-cs"/>
              </a:rPr>
              <a:t>Kamu</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urum</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e</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uruluşları</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anunl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kurulan</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akıflar</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uluslararası</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fonlar</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tarafından</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desteklenen</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500" b="1" i="0" u="none" strike="noStrike" kern="1200" cap="none" spc="0" normalizeH="0" baseline="0" noProof="0" dirty="0">
                <a:ln>
                  <a:noFill/>
                </a:ln>
                <a:solidFill>
                  <a:prstClr val="black"/>
                </a:solidFill>
                <a:effectLst/>
                <a:uLnTx/>
                <a:uFillTx/>
                <a:latin typeface="Calibri"/>
                <a:ea typeface="+mn-ea"/>
                <a:cs typeface="+mn-cs"/>
              </a:rPr>
              <a:t>-Ge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yenilik</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projeleri</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500" b="1" i="0" u="none" strike="noStrike" kern="1200" cap="none" spc="0" normalizeH="0" baseline="0" noProof="0" dirty="0">
                <a:ln>
                  <a:noFill/>
                </a:ln>
                <a:solidFill>
                  <a:prstClr val="black"/>
                </a:solidFill>
                <a:effectLst/>
                <a:uLnTx/>
                <a:uFillTx/>
                <a:latin typeface="Calibri"/>
                <a:ea typeface="+mn-ea"/>
                <a:cs typeface="+mn-cs"/>
              </a:rPr>
              <a:t> </a:t>
            </a:r>
            <a:r>
              <a:rPr kumimoji="0" lang="en-US" sz="15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500" b="1"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Rectangle 15">
            <a:extLst>
              <a:ext uri="{FF2B5EF4-FFF2-40B4-BE49-F238E27FC236}">
                <a16:creationId xmlns:a16="http://schemas.microsoft.com/office/drawing/2014/main" id="{E0E77585-AF09-47C0-B66E-AC97BF44AEF0}"/>
              </a:ext>
            </a:extLst>
          </p:cNvPr>
          <p:cNvSpPr/>
          <p:nvPr/>
        </p:nvSpPr>
        <p:spPr>
          <a:xfrm>
            <a:off x="1112084" y="3028948"/>
            <a:ext cx="3060000" cy="73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Rectangle 7">
            <a:extLst>
              <a:ext uri="{FF2B5EF4-FFF2-40B4-BE49-F238E27FC236}">
                <a16:creationId xmlns:a16="http://schemas.microsoft.com/office/drawing/2014/main" id="{0548BF79-978A-4F0C-8E75-010DABCDBA01}"/>
              </a:ext>
            </a:extLst>
          </p:cNvPr>
          <p:cNvSpPr/>
          <p:nvPr/>
        </p:nvSpPr>
        <p:spPr>
          <a:xfrm>
            <a:off x="4601242" y="1564683"/>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600" b="1" i="0" u="none" strike="noStrike" kern="1200" cap="none" spc="0" normalizeH="0" baseline="0" noProof="0" dirty="0">
                <a:ln>
                  <a:noFill/>
                </a:ln>
                <a:solidFill>
                  <a:prstClr val="black"/>
                </a:solidFill>
                <a:effectLst/>
                <a:uLnTx/>
                <a:uFillTx/>
                <a:latin typeface="Calibri"/>
                <a:ea typeface="+mn-ea"/>
                <a:cs typeface="+mn-cs"/>
              </a:rPr>
              <a:t>Patent belgesi ile koruma altına alınan </a:t>
            </a:r>
          </a:p>
        </p:txBody>
      </p:sp>
      <p:sp>
        <p:nvSpPr>
          <p:cNvPr id="54" name="Rectangle 15">
            <a:extLst>
              <a:ext uri="{FF2B5EF4-FFF2-40B4-BE49-F238E27FC236}">
                <a16:creationId xmlns:a16="http://schemas.microsoft.com/office/drawing/2014/main" id="{DE01E06D-4A7E-4239-A988-434A119BF0CB}"/>
              </a:ext>
            </a:extLst>
          </p:cNvPr>
          <p:cNvSpPr/>
          <p:nvPr/>
        </p:nvSpPr>
        <p:spPr>
          <a:xfrm>
            <a:off x="4601242" y="3003384"/>
            <a:ext cx="3060000" cy="7304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Rectangle 7">
            <a:extLst>
              <a:ext uri="{FF2B5EF4-FFF2-40B4-BE49-F238E27FC236}">
                <a16:creationId xmlns:a16="http://schemas.microsoft.com/office/drawing/2014/main" id="{FE94D85B-C3F0-45F9-BDA3-52CCF9B7384B}"/>
              </a:ext>
            </a:extLst>
          </p:cNvPr>
          <p:cNvSpPr/>
          <p:nvPr/>
        </p:nvSpPr>
        <p:spPr>
          <a:xfrm>
            <a:off x="8090400" y="1590247"/>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black"/>
                </a:solidFill>
                <a:effectLst/>
                <a:uLnTx/>
                <a:uFillTx/>
                <a:latin typeface="Calibri"/>
                <a:ea typeface="+mn-ea"/>
                <a:cs typeface="+mn-cs"/>
              </a:rPr>
              <a:t>Doktora çalışması neticesinde ortaya 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56" name="Rectangle 15">
            <a:extLst>
              <a:ext uri="{FF2B5EF4-FFF2-40B4-BE49-F238E27FC236}">
                <a16:creationId xmlns:a16="http://schemas.microsoft.com/office/drawing/2014/main" id="{696AF8CF-761D-4E69-A4A1-3839159F3835}"/>
              </a:ext>
            </a:extLst>
          </p:cNvPr>
          <p:cNvSpPr/>
          <p:nvPr/>
        </p:nvSpPr>
        <p:spPr>
          <a:xfrm>
            <a:off x="8090400" y="3028948"/>
            <a:ext cx="3060000" cy="7304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Rectangle 7">
            <a:extLst>
              <a:ext uri="{FF2B5EF4-FFF2-40B4-BE49-F238E27FC236}">
                <a16:creationId xmlns:a16="http://schemas.microsoft.com/office/drawing/2014/main" id="{DB0A641C-A9C8-4FD4-99BA-17CFDC7359D9}"/>
              </a:ext>
            </a:extLst>
          </p:cNvPr>
          <p:cNvSpPr/>
          <p:nvPr/>
        </p:nvSpPr>
        <p:spPr>
          <a:xfrm>
            <a:off x="1112084" y="3275064"/>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Teknolojik</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Ürün</a:t>
            </a:r>
            <a:r>
              <a:rPr kumimoji="0" lang="en-US" sz="1600" b="1" i="0" u="none" strike="noStrike" kern="1200" cap="none" spc="0" normalizeH="0" baseline="0" noProof="0" dirty="0">
                <a:ln>
                  <a:noFill/>
                </a:ln>
                <a:solidFill>
                  <a:prstClr val="black"/>
                </a:solidFill>
                <a:effectLst/>
                <a:uLnTx/>
                <a:uFillTx/>
                <a:latin typeface="Calibri"/>
                <a:ea typeface="+mn-ea"/>
                <a:cs typeface="+mn-cs"/>
              </a:rPr>
              <a:t> (TÜR)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Deneyim</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belges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lın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Rectangle 15">
            <a:extLst>
              <a:ext uri="{FF2B5EF4-FFF2-40B4-BE49-F238E27FC236}">
                <a16:creationId xmlns:a16="http://schemas.microsoft.com/office/drawing/2014/main" id="{00D92B37-FA04-4809-8BBB-001E6991B6F4}"/>
              </a:ext>
            </a:extLst>
          </p:cNvPr>
          <p:cNvSpPr/>
          <p:nvPr/>
        </p:nvSpPr>
        <p:spPr>
          <a:xfrm>
            <a:off x="1112084" y="4713765"/>
            <a:ext cx="3060000" cy="7304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9" name="Rectangle 7">
            <a:extLst>
              <a:ext uri="{FF2B5EF4-FFF2-40B4-BE49-F238E27FC236}">
                <a16:creationId xmlns:a16="http://schemas.microsoft.com/office/drawing/2014/main" id="{8FC1E6E7-E01A-4900-BA97-A28C275981C6}"/>
              </a:ext>
            </a:extLst>
          </p:cNvPr>
          <p:cNvSpPr/>
          <p:nvPr/>
        </p:nvSpPr>
        <p:spPr>
          <a:xfrm>
            <a:off x="4601242" y="3275064"/>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TGB’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yer</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lan</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işletmelerin</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bölge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başarıyl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tamamladıkları</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600" b="1" i="0" u="none" strike="noStrike" kern="1200" cap="none" spc="0" normalizeH="0" baseline="0" noProof="0" dirty="0">
                <a:ln>
                  <a:noFill/>
                </a:ln>
                <a:solidFill>
                  <a:prstClr val="black"/>
                </a:solidFill>
                <a:effectLst/>
                <a:uLnTx/>
                <a:uFillTx/>
                <a:latin typeface="Calibri"/>
                <a:ea typeface="+mn-ea"/>
                <a:cs typeface="+mn-cs"/>
              </a:rPr>
              <a:t>-G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yenilik</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projeler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0" name="Rectangle 15">
            <a:extLst>
              <a:ext uri="{FF2B5EF4-FFF2-40B4-BE49-F238E27FC236}">
                <a16:creationId xmlns:a16="http://schemas.microsoft.com/office/drawing/2014/main" id="{6597EE96-09B3-4A93-A361-DEDFC84E5D27}"/>
              </a:ext>
            </a:extLst>
          </p:cNvPr>
          <p:cNvSpPr/>
          <p:nvPr/>
        </p:nvSpPr>
        <p:spPr>
          <a:xfrm>
            <a:off x="4601242" y="4713765"/>
            <a:ext cx="3060000" cy="7304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Rectangle 7">
            <a:extLst>
              <a:ext uri="{FF2B5EF4-FFF2-40B4-BE49-F238E27FC236}">
                <a16:creationId xmlns:a16="http://schemas.microsoft.com/office/drawing/2014/main" id="{DAB7840E-A571-4022-9DCD-238EC79F5151}"/>
              </a:ext>
            </a:extLst>
          </p:cNvPr>
          <p:cNvSpPr/>
          <p:nvPr/>
        </p:nvSpPr>
        <p:spPr>
          <a:xfrm>
            <a:off x="8090400" y="3260074"/>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600" b="1" i="0" u="none" strike="noStrike" kern="1200" cap="none" spc="0" normalizeH="0" baseline="0" noProof="0" dirty="0">
                <a:ln>
                  <a:noFill/>
                </a:ln>
                <a:solidFill>
                  <a:prstClr val="black"/>
                </a:solidFill>
                <a:effectLst/>
                <a:uLnTx/>
                <a:uFillTx/>
                <a:latin typeface="Calibri"/>
                <a:ea typeface="+mn-ea"/>
                <a:cs typeface="+mn-cs"/>
              </a:rPr>
              <a:t>-G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Merkezlerin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tr-TR" sz="1600" b="1" i="0" u="none" strike="noStrike" kern="1200" cap="none" spc="0" normalizeH="0" baseline="0" noProof="0" dirty="0">
                <a:ln>
                  <a:noFill/>
                </a:ln>
                <a:solidFill>
                  <a:prstClr val="black"/>
                </a:solidFill>
                <a:effectLst/>
                <a:uLnTx/>
                <a:uFillTx/>
                <a:latin typeface="Calibri"/>
                <a:ea typeface="+mn-ea"/>
                <a:cs typeface="+mn-cs"/>
              </a:rPr>
              <a:t>A</a:t>
            </a:r>
            <a:r>
              <a:rPr kumimoji="0" lang="en-US" sz="1600" b="1" i="0" u="none" strike="noStrike" kern="1200" cap="none" spc="0" normalizeH="0" baseline="0" noProof="0" dirty="0">
                <a:ln>
                  <a:noFill/>
                </a:ln>
                <a:solidFill>
                  <a:prstClr val="black"/>
                </a:solidFill>
                <a:effectLst/>
                <a:uLnTx/>
                <a:uFillTx/>
                <a:latin typeface="Calibri"/>
                <a:ea typeface="+mn-ea"/>
                <a:cs typeface="+mn-cs"/>
              </a:rPr>
              <a:t>r-</a:t>
            </a:r>
            <a:r>
              <a:rPr kumimoji="0" lang="tr-TR" sz="1600" b="1" i="0" u="none" strike="noStrike" kern="1200" cap="none" spc="0" normalizeH="0" baseline="0" noProof="0" dirty="0">
                <a:ln>
                  <a:noFill/>
                </a:ln>
                <a:solidFill>
                  <a:prstClr val="black"/>
                </a:solidFill>
                <a:effectLst/>
                <a:uLnTx/>
                <a:uFillTx/>
                <a:latin typeface="Calibri"/>
                <a:ea typeface="+mn-ea"/>
                <a:cs typeface="+mn-cs"/>
              </a:rPr>
              <a:t>G</a:t>
            </a:r>
            <a:r>
              <a:rPr kumimoji="0" lang="en-US" sz="1600" b="1" i="0" u="none" strike="noStrike" kern="1200" cap="none" spc="0" normalizeH="0" baseline="0" noProof="0" dirty="0">
                <a:ln>
                  <a:noFill/>
                </a:ln>
                <a:solidFill>
                  <a:prstClr val="black"/>
                </a:solidFill>
                <a:effectLst/>
                <a:uLnTx/>
                <a:uFillTx/>
                <a:latin typeface="Calibri"/>
                <a:ea typeface="+mn-ea"/>
                <a:cs typeface="+mn-cs"/>
              </a:rPr>
              <a:t>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faaliyetler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2" name="Rectangle 15">
            <a:extLst>
              <a:ext uri="{FF2B5EF4-FFF2-40B4-BE49-F238E27FC236}">
                <a16:creationId xmlns:a16="http://schemas.microsoft.com/office/drawing/2014/main" id="{F74E2558-3A52-4C79-B037-1E4CE500D494}"/>
              </a:ext>
            </a:extLst>
          </p:cNvPr>
          <p:cNvSpPr/>
          <p:nvPr/>
        </p:nvSpPr>
        <p:spPr>
          <a:xfrm>
            <a:off x="8090400" y="4713765"/>
            <a:ext cx="3060000" cy="7304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7">
            <a:extLst>
              <a:ext uri="{FF2B5EF4-FFF2-40B4-BE49-F238E27FC236}">
                <a16:creationId xmlns:a16="http://schemas.microsoft.com/office/drawing/2014/main" id="{8756FE17-8B6C-44FD-A32D-BA10876E49C2}"/>
              </a:ext>
            </a:extLst>
          </p:cNvPr>
          <p:cNvSpPr/>
          <p:nvPr/>
        </p:nvSpPr>
        <p:spPr>
          <a:xfrm>
            <a:off x="1112084" y="4898313"/>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1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Kamu</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üniversit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raştırm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enstitülerin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merkezlerind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Ar</a:t>
            </a:r>
            <a:r>
              <a:rPr kumimoji="0" lang="en-US" sz="1600" b="1" i="0" u="none" strike="noStrike" kern="1200" cap="none" spc="0" normalizeH="0" baseline="0" noProof="0" dirty="0">
                <a:ln>
                  <a:noFill/>
                </a:ln>
                <a:solidFill>
                  <a:prstClr val="black"/>
                </a:solidFill>
                <a:effectLst/>
                <a:uLnTx/>
                <a:uFillTx/>
                <a:latin typeface="Calibri"/>
                <a:ea typeface="+mn-ea"/>
                <a:cs typeface="+mn-cs"/>
              </a:rPr>
              <a:t>-Ge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faaliyetler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sonucund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rtay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çık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4" name="Rectangle 15">
            <a:extLst>
              <a:ext uri="{FF2B5EF4-FFF2-40B4-BE49-F238E27FC236}">
                <a16:creationId xmlns:a16="http://schemas.microsoft.com/office/drawing/2014/main" id="{02B62940-E4F1-49F1-AE96-D1F40D193A4B}"/>
              </a:ext>
            </a:extLst>
          </p:cNvPr>
          <p:cNvSpPr/>
          <p:nvPr/>
        </p:nvSpPr>
        <p:spPr>
          <a:xfrm>
            <a:off x="1112084" y="6337014"/>
            <a:ext cx="3060000" cy="7304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Rectangle 7">
            <a:extLst>
              <a:ext uri="{FF2B5EF4-FFF2-40B4-BE49-F238E27FC236}">
                <a16:creationId xmlns:a16="http://schemas.microsoft.com/office/drawing/2014/main" id="{B0B5AECF-5F3B-4DBA-A4AC-297586CE40FC}"/>
              </a:ext>
            </a:extLst>
          </p:cNvPr>
          <p:cNvSpPr/>
          <p:nvPr/>
        </p:nvSpPr>
        <p:spPr>
          <a:xfrm>
            <a:off x="4601242" y="4898313"/>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baseline="0" noProof="0" dirty="0">
                <a:ln>
                  <a:noFill/>
                </a:ln>
                <a:solidFill>
                  <a:prstClr val="black"/>
                </a:solidFill>
                <a:effectLst/>
                <a:uLnTx/>
                <a:uFillTx/>
                <a:latin typeface="Calibri"/>
                <a:ea typeface="+mn-ea"/>
                <a:cs typeface="+mn-cs"/>
              </a:rPr>
              <a:t>Orta-yüksek veya yüksek teknoloji alanlarında yer alan </a:t>
            </a:r>
          </a:p>
        </p:txBody>
      </p:sp>
      <p:sp>
        <p:nvSpPr>
          <p:cNvPr id="66" name="Rectangle 15">
            <a:extLst>
              <a:ext uri="{FF2B5EF4-FFF2-40B4-BE49-F238E27FC236}">
                <a16:creationId xmlns:a16="http://schemas.microsoft.com/office/drawing/2014/main" id="{22AA91A3-E7CE-4206-8891-2898452ACE0C}"/>
              </a:ext>
            </a:extLst>
          </p:cNvPr>
          <p:cNvSpPr/>
          <p:nvPr/>
        </p:nvSpPr>
        <p:spPr>
          <a:xfrm>
            <a:off x="4601242" y="6337014"/>
            <a:ext cx="3060000" cy="7304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7" name="Rectangle 7">
            <a:extLst>
              <a:ext uri="{FF2B5EF4-FFF2-40B4-BE49-F238E27FC236}">
                <a16:creationId xmlns:a16="http://schemas.microsoft.com/office/drawing/2014/main" id="{180D4632-5724-4DA8-9D55-D360E0239547}"/>
              </a:ext>
            </a:extLst>
          </p:cNvPr>
          <p:cNvSpPr/>
          <p:nvPr/>
        </p:nvSpPr>
        <p:spPr>
          <a:xfrm>
            <a:off x="8090400" y="4897415"/>
            <a:ext cx="3060000" cy="146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0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Son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mali</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yıl</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verilerin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göre</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ithalat</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tutarı</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ihracat</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tutarından</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fazla</a:t>
            </a:r>
            <a:r>
              <a:rPr kumimoji="0" lang="en-US" sz="1600" b="1" i="0" u="none" strike="noStrike" kern="1200" cap="none" spc="0" normalizeH="0" baseline="0" noProof="0" dirty="0">
                <a:ln>
                  <a:noFill/>
                </a:ln>
                <a:solidFill>
                  <a:prstClr val="black"/>
                </a:solidFill>
                <a:effectLst/>
                <a:uLnTx/>
                <a:uFillTx/>
                <a:latin typeface="Calibri"/>
                <a:ea typeface="+mn-ea"/>
                <a:cs typeface="+mn-cs"/>
              </a:rPr>
              <a:t> </a:t>
            </a:r>
            <a:r>
              <a:rPr kumimoji="0" lang="en-US" sz="1600" b="1" i="0" u="none" strike="noStrike" kern="1200" cap="none" spc="0" normalizeH="0" baseline="0" noProof="0" dirty="0" err="1">
                <a:ln>
                  <a:noFill/>
                </a:ln>
                <a:solidFill>
                  <a:prstClr val="black"/>
                </a:solidFill>
                <a:effectLst/>
                <a:uLnTx/>
                <a:uFillTx/>
                <a:latin typeface="Calibri"/>
                <a:ea typeface="+mn-ea"/>
                <a:cs typeface="+mn-cs"/>
              </a:rPr>
              <a:t>olan</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Rectangle 15">
            <a:extLst>
              <a:ext uri="{FF2B5EF4-FFF2-40B4-BE49-F238E27FC236}">
                <a16:creationId xmlns:a16="http://schemas.microsoft.com/office/drawing/2014/main" id="{805F6218-AEBF-4F32-ABDD-F6320A7E3D54}"/>
              </a:ext>
            </a:extLst>
          </p:cNvPr>
          <p:cNvSpPr/>
          <p:nvPr/>
        </p:nvSpPr>
        <p:spPr>
          <a:xfrm>
            <a:off x="8090400" y="6336116"/>
            <a:ext cx="3060000" cy="7304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Check" descr="{&quot;Key&quot;:&quot;POWER_USER_SHAPE_ICON&quot;,&quot;Value&quot;:&quot;POWER_USER_SHAPE_ICON_STYLE_1&quot;}">
            <a:extLst>
              <a:ext uri="{FF2B5EF4-FFF2-40B4-BE49-F238E27FC236}">
                <a16:creationId xmlns:a16="http://schemas.microsoft.com/office/drawing/2014/main" id="{420445BC-8FBD-4BA2-81A9-15FF7BAA0DA0}"/>
              </a:ext>
            </a:extLst>
          </p:cNvPr>
          <p:cNvGrpSpPr>
            <a:grpSpLocks noChangeAspect="1"/>
          </p:cNvGrpSpPr>
          <p:nvPr>
            <p:custDataLst>
              <p:tags r:id="rId2"/>
            </p:custDataLst>
          </p:nvPr>
        </p:nvGrpSpPr>
        <p:grpSpPr bwMode="auto">
          <a:xfrm>
            <a:off x="2310654" y="1424054"/>
            <a:ext cx="435014" cy="411738"/>
            <a:chOff x="2875" y="1062"/>
            <a:chExt cx="2168" cy="2052"/>
          </a:xfrm>
          <a:solidFill>
            <a:schemeClr val="tx2">
              <a:lumMod val="50000"/>
            </a:schemeClr>
          </a:solidFill>
        </p:grpSpPr>
        <p:sp>
          <p:nvSpPr>
            <p:cNvPr id="70" name="Freeform 240">
              <a:extLst>
                <a:ext uri="{FF2B5EF4-FFF2-40B4-BE49-F238E27FC236}">
                  <a16:creationId xmlns:a16="http://schemas.microsoft.com/office/drawing/2014/main" id="{5CAE1F4E-A4AF-4904-AA86-78BB30F01B45}"/>
                </a:ext>
              </a:extLst>
            </p:cNvPr>
            <p:cNvSpPr>
              <a:spLocks/>
            </p:cNvSpPr>
            <p:nvPr/>
          </p:nvSpPr>
          <p:spPr bwMode="auto">
            <a:xfrm>
              <a:off x="3276" y="1062"/>
              <a:ext cx="1767" cy="1523"/>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41">
              <a:extLst>
                <a:ext uri="{FF2B5EF4-FFF2-40B4-BE49-F238E27FC236}">
                  <a16:creationId xmlns:a16="http://schemas.microsoft.com/office/drawing/2014/main" id="{5B716EED-4E23-4E55-84DB-5F8C3B468656}"/>
                </a:ext>
              </a:extLst>
            </p:cNvPr>
            <p:cNvSpPr>
              <a:spLocks/>
            </p:cNvSpPr>
            <p:nvPr/>
          </p:nvSpPr>
          <p:spPr bwMode="auto">
            <a:xfrm>
              <a:off x="2875" y="1261"/>
              <a:ext cx="1854" cy="185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72" name="Resim 71">
            <a:extLst>
              <a:ext uri="{FF2B5EF4-FFF2-40B4-BE49-F238E27FC236}">
                <a16:creationId xmlns:a16="http://schemas.microsoft.com/office/drawing/2014/main" id="{397F9BF1-9F46-4387-83C4-20CC70863C9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19925" b="31955"/>
          <a:stretch/>
        </p:blipFill>
        <p:spPr>
          <a:xfrm>
            <a:off x="5596255" y="1472738"/>
            <a:ext cx="999489" cy="480958"/>
          </a:xfrm>
          <a:prstGeom prst="rect">
            <a:avLst/>
          </a:prstGeom>
        </p:spPr>
      </p:pic>
      <p:pic>
        <p:nvPicPr>
          <p:cNvPr id="73" name="Resim 72">
            <a:extLst>
              <a:ext uri="{FF2B5EF4-FFF2-40B4-BE49-F238E27FC236}">
                <a16:creationId xmlns:a16="http://schemas.microsoft.com/office/drawing/2014/main" id="{81A786F5-50F0-4351-8370-4AC842F034C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8264" t="11411" r="10832" b="26969"/>
          <a:stretch/>
        </p:blipFill>
        <p:spPr>
          <a:xfrm>
            <a:off x="9260545" y="1490835"/>
            <a:ext cx="887796" cy="478044"/>
          </a:xfrm>
          <a:prstGeom prst="rect">
            <a:avLst/>
          </a:prstGeom>
        </p:spPr>
      </p:pic>
      <p:pic>
        <p:nvPicPr>
          <p:cNvPr id="74" name="Resim 73">
            <a:extLst>
              <a:ext uri="{FF2B5EF4-FFF2-40B4-BE49-F238E27FC236}">
                <a16:creationId xmlns:a16="http://schemas.microsoft.com/office/drawing/2014/main" id="{6EE60958-910F-421C-BBCE-C16AF5EED3E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0151" t="68108" r="59670" b="11891"/>
          <a:stretch/>
        </p:blipFill>
        <p:spPr>
          <a:xfrm>
            <a:off x="2288736" y="3139778"/>
            <a:ext cx="649336" cy="590686"/>
          </a:xfrm>
          <a:prstGeom prst="rect">
            <a:avLst/>
          </a:prstGeom>
        </p:spPr>
      </p:pic>
      <p:pic>
        <p:nvPicPr>
          <p:cNvPr id="75" name="Resim 74">
            <a:extLst>
              <a:ext uri="{FF2B5EF4-FFF2-40B4-BE49-F238E27FC236}">
                <a16:creationId xmlns:a16="http://schemas.microsoft.com/office/drawing/2014/main" id="{BE5CAB54-FB2D-42C4-BFA1-65B14C6CBF7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596255" y="3162556"/>
            <a:ext cx="999489" cy="470347"/>
          </a:xfrm>
          <a:prstGeom prst="rect">
            <a:avLst/>
          </a:prstGeom>
          <a:solidFill>
            <a:schemeClr val="bg1"/>
          </a:solidFill>
        </p:spPr>
      </p:pic>
      <p:pic>
        <p:nvPicPr>
          <p:cNvPr id="76" name="Resim 75">
            <a:extLst>
              <a:ext uri="{FF2B5EF4-FFF2-40B4-BE49-F238E27FC236}">
                <a16:creationId xmlns:a16="http://schemas.microsoft.com/office/drawing/2014/main" id="{E81412D4-4C22-4731-A90E-63FE426A39D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57597" y="3151020"/>
            <a:ext cx="585565" cy="585565"/>
          </a:xfrm>
          <a:prstGeom prst="rect">
            <a:avLst/>
          </a:prstGeom>
          <a:solidFill>
            <a:schemeClr val="bg1"/>
          </a:solidFill>
        </p:spPr>
      </p:pic>
      <p:grpSp>
        <p:nvGrpSpPr>
          <p:cNvPr id="77" name="Smart_manufacturing" descr="{&quot;Key&quot;:&quot;POWER_USER_SHAPE_ICON&quot;,&quot;Value&quot;:&quot;POWER_USER_SHAPE_ICON_STYLE_1&quot;}">
            <a:extLst>
              <a:ext uri="{FF2B5EF4-FFF2-40B4-BE49-F238E27FC236}">
                <a16:creationId xmlns:a16="http://schemas.microsoft.com/office/drawing/2014/main" id="{D88907C8-04CF-4CE1-BBCB-DB657585561F}"/>
              </a:ext>
            </a:extLst>
          </p:cNvPr>
          <p:cNvGrpSpPr>
            <a:grpSpLocks noChangeAspect="1"/>
          </p:cNvGrpSpPr>
          <p:nvPr>
            <p:custDataLst>
              <p:tags r:id="rId3"/>
            </p:custDataLst>
          </p:nvPr>
        </p:nvGrpSpPr>
        <p:grpSpPr>
          <a:xfrm>
            <a:off x="2342075" y="4817431"/>
            <a:ext cx="440916" cy="463627"/>
            <a:chOff x="737099" y="6489119"/>
            <a:chExt cx="886032" cy="931669"/>
          </a:xfrm>
          <a:solidFill>
            <a:schemeClr val="tx2">
              <a:lumMod val="50000"/>
            </a:schemeClr>
          </a:solidFill>
        </p:grpSpPr>
        <p:grpSp>
          <p:nvGrpSpPr>
            <p:cNvPr id="78" name="Automation">
              <a:extLst>
                <a:ext uri="{FF2B5EF4-FFF2-40B4-BE49-F238E27FC236}">
                  <a16:creationId xmlns:a16="http://schemas.microsoft.com/office/drawing/2014/main" id="{334BE197-141D-468C-B36B-19DCDB5866E7}"/>
                </a:ext>
              </a:extLst>
            </p:cNvPr>
            <p:cNvGrpSpPr>
              <a:grpSpLocks noChangeAspect="1"/>
            </p:cNvGrpSpPr>
            <p:nvPr>
              <p:custDataLst>
                <p:tags r:id="rId5"/>
              </p:custDataLst>
            </p:nvPr>
          </p:nvGrpSpPr>
          <p:grpSpPr>
            <a:xfrm>
              <a:off x="737099" y="6661963"/>
              <a:ext cx="605173" cy="758825"/>
              <a:chOff x="4370392" y="1606554"/>
              <a:chExt cx="712788" cy="893763"/>
            </a:xfrm>
            <a:grpFill/>
          </p:grpSpPr>
          <p:sp>
            <p:nvSpPr>
              <p:cNvPr id="83" name="Freeform 800">
                <a:extLst>
                  <a:ext uri="{FF2B5EF4-FFF2-40B4-BE49-F238E27FC236}">
                    <a16:creationId xmlns:a16="http://schemas.microsoft.com/office/drawing/2014/main" id="{5C14183B-9D07-499C-860E-F2FDA321D795}"/>
                  </a:ext>
                </a:extLst>
              </p:cNvPr>
              <p:cNvSpPr>
                <a:spLocks/>
              </p:cNvSpPr>
              <p:nvPr/>
            </p:nvSpPr>
            <p:spPr bwMode="auto">
              <a:xfrm>
                <a:off x="4811718" y="1941516"/>
                <a:ext cx="195263" cy="174625"/>
              </a:xfrm>
              <a:custGeom>
                <a:avLst/>
                <a:gdLst>
                  <a:gd name="T0" fmla="*/ 55 w 273"/>
                  <a:gd name="T1" fmla="*/ 46 h 245"/>
                  <a:gd name="T2" fmla="*/ 138 w 273"/>
                  <a:gd name="T3" fmla="*/ 0 h 245"/>
                  <a:gd name="T4" fmla="*/ 174 w 273"/>
                  <a:gd name="T5" fmla="*/ 125 h 245"/>
                  <a:gd name="T6" fmla="*/ 273 w 273"/>
                  <a:gd name="T7" fmla="*/ 170 h 245"/>
                  <a:gd name="T8" fmla="*/ 252 w 273"/>
                  <a:gd name="T9" fmla="*/ 232 h 245"/>
                  <a:gd name="T10" fmla="*/ 230 w 273"/>
                  <a:gd name="T11" fmla="*/ 245 h 245"/>
                  <a:gd name="T12" fmla="*/ 111 w 273"/>
                  <a:gd name="T13" fmla="*/ 191 h 245"/>
                  <a:gd name="T14" fmla="*/ 0 w 273"/>
                  <a:gd name="T15" fmla="*/ 34 h 245"/>
                  <a:gd name="T16" fmla="*/ 55 w 273"/>
                  <a:gd name="T17" fmla="*/ 4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245">
                    <a:moveTo>
                      <a:pt x="55" y="46"/>
                    </a:moveTo>
                    <a:cubicBezTo>
                      <a:pt x="91" y="45"/>
                      <a:pt x="120" y="28"/>
                      <a:pt x="138" y="0"/>
                    </a:cubicBezTo>
                    <a:lnTo>
                      <a:pt x="174" y="125"/>
                    </a:lnTo>
                    <a:lnTo>
                      <a:pt x="273" y="170"/>
                    </a:lnTo>
                    <a:lnTo>
                      <a:pt x="252" y="232"/>
                    </a:lnTo>
                    <a:lnTo>
                      <a:pt x="230" y="245"/>
                    </a:lnTo>
                    <a:lnTo>
                      <a:pt x="111" y="191"/>
                    </a:lnTo>
                    <a:lnTo>
                      <a:pt x="0" y="34"/>
                    </a:lnTo>
                    <a:cubicBezTo>
                      <a:pt x="16" y="42"/>
                      <a:pt x="37" y="46"/>
                      <a:pt x="55" y="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801">
                <a:extLst>
                  <a:ext uri="{FF2B5EF4-FFF2-40B4-BE49-F238E27FC236}">
                    <a16:creationId xmlns:a16="http://schemas.microsoft.com/office/drawing/2014/main" id="{53B626B4-ADA1-4399-B495-E99F6DA16F99}"/>
                  </a:ext>
                </a:extLst>
              </p:cNvPr>
              <p:cNvSpPr>
                <a:spLocks/>
              </p:cNvSpPr>
              <p:nvPr/>
            </p:nvSpPr>
            <p:spPr bwMode="auto">
              <a:xfrm>
                <a:off x="4491042" y="2238379"/>
                <a:ext cx="427038" cy="261938"/>
              </a:xfrm>
              <a:custGeom>
                <a:avLst/>
                <a:gdLst>
                  <a:gd name="T0" fmla="*/ 600 w 600"/>
                  <a:gd name="T1" fmla="*/ 137 h 368"/>
                  <a:gd name="T2" fmla="*/ 513 w 600"/>
                  <a:gd name="T3" fmla="*/ 15 h 368"/>
                  <a:gd name="T4" fmla="*/ 484 w 600"/>
                  <a:gd name="T5" fmla="*/ 0 h 368"/>
                  <a:gd name="T6" fmla="*/ 483 w 600"/>
                  <a:gd name="T7" fmla="*/ 14 h 368"/>
                  <a:gd name="T8" fmla="*/ 455 w 600"/>
                  <a:gd name="T9" fmla="*/ 69 h 368"/>
                  <a:gd name="T10" fmla="*/ 317 w 600"/>
                  <a:gd name="T11" fmla="*/ 181 h 368"/>
                  <a:gd name="T12" fmla="*/ 269 w 600"/>
                  <a:gd name="T13" fmla="*/ 197 h 368"/>
                  <a:gd name="T14" fmla="*/ 225 w 600"/>
                  <a:gd name="T15" fmla="*/ 188 h 368"/>
                  <a:gd name="T16" fmla="*/ 134 w 600"/>
                  <a:gd name="T17" fmla="*/ 118 h 368"/>
                  <a:gd name="T18" fmla="*/ 64 w 600"/>
                  <a:gd name="T19" fmla="*/ 31 h 368"/>
                  <a:gd name="T20" fmla="*/ 0 w 600"/>
                  <a:gd name="T21" fmla="*/ 145 h 368"/>
                  <a:gd name="T22" fmla="*/ 0 w 600"/>
                  <a:gd name="T23" fmla="*/ 178 h 368"/>
                  <a:gd name="T24" fmla="*/ 87 w 600"/>
                  <a:gd name="T25" fmla="*/ 300 h 368"/>
                  <a:gd name="T26" fmla="*/ 511 w 600"/>
                  <a:gd name="T27" fmla="*/ 300 h 368"/>
                  <a:gd name="T28" fmla="*/ 600 w 600"/>
                  <a:gd name="T29" fmla="*/ 177 h 368"/>
                  <a:gd name="T30" fmla="*/ 600 w 600"/>
                  <a:gd name="T31" fmla="*/ 13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0" h="368">
                    <a:moveTo>
                      <a:pt x="600" y="137"/>
                    </a:moveTo>
                    <a:cubicBezTo>
                      <a:pt x="600" y="93"/>
                      <a:pt x="571" y="49"/>
                      <a:pt x="513" y="15"/>
                    </a:cubicBezTo>
                    <a:cubicBezTo>
                      <a:pt x="504" y="10"/>
                      <a:pt x="494" y="5"/>
                      <a:pt x="484" y="0"/>
                    </a:cubicBezTo>
                    <a:cubicBezTo>
                      <a:pt x="484" y="5"/>
                      <a:pt x="484" y="10"/>
                      <a:pt x="483" y="14"/>
                    </a:cubicBezTo>
                    <a:cubicBezTo>
                      <a:pt x="481" y="37"/>
                      <a:pt x="471" y="56"/>
                      <a:pt x="455" y="69"/>
                    </a:cubicBezTo>
                    <a:lnTo>
                      <a:pt x="317" y="181"/>
                    </a:lnTo>
                    <a:cubicBezTo>
                      <a:pt x="304" y="191"/>
                      <a:pt x="287" y="197"/>
                      <a:pt x="269" y="197"/>
                    </a:cubicBezTo>
                    <a:cubicBezTo>
                      <a:pt x="255" y="197"/>
                      <a:pt x="240" y="194"/>
                      <a:pt x="225" y="188"/>
                    </a:cubicBezTo>
                    <a:cubicBezTo>
                      <a:pt x="192" y="175"/>
                      <a:pt x="160" y="150"/>
                      <a:pt x="134" y="118"/>
                    </a:cubicBezTo>
                    <a:lnTo>
                      <a:pt x="64" y="31"/>
                    </a:lnTo>
                    <a:cubicBezTo>
                      <a:pt x="19" y="65"/>
                      <a:pt x="0" y="107"/>
                      <a:pt x="0" y="145"/>
                    </a:cubicBezTo>
                    <a:lnTo>
                      <a:pt x="0" y="178"/>
                    </a:lnTo>
                    <a:cubicBezTo>
                      <a:pt x="0" y="223"/>
                      <a:pt x="29" y="267"/>
                      <a:pt x="87" y="300"/>
                    </a:cubicBezTo>
                    <a:cubicBezTo>
                      <a:pt x="204" y="368"/>
                      <a:pt x="394" y="368"/>
                      <a:pt x="511" y="300"/>
                    </a:cubicBezTo>
                    <a:cubicBezTo>
                      <a:pt x="571" y="266"/>
                      <a:pt x="600" y="221"/>
                      <a:pt x="600" y="177"/>
                    </a:cubicBezTo>
                    <a:lnTo>
                      <a:pt x="600" y="1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802">
                <a:extLst>
                  <a:ext uri="{FF2B5EF4-FFF2-40B4-BE49-F238E27FC236}">
                    <a16:creationId xmlns:a16="http://schemas.microsoft.com/office/drawing/2014/main" id="{F39DF6CD-0845-4074-8F42-39B5C5F5AE2C}"/>
                  </a:ext>
                </a:extLst>
              </p:cNvPr>
              <p:cNvSpPr>
                <a:spLocks/>
              </p:cNvSpPr>
              <p:nvPr/>
            </p:nvSpPr>
            <p:spPr bwMode="auto">
              <a:xfrm>
                <a:off x="4530730" y="1958979"/>
                <a:ext cx="276225" cy="354013"/>
              </a:xfrm>
              <a:custGeom>
                <a:avLst/>
                <a:gdLst>
                  <a:gd name="T0" fmla="*/ 240 w 390"/>
                  <a:gd name="T1" fmla="*/ 383 h 498"/>
                  <a:gd name="T2" fmla="*/ 0 w 390"/>
                  <a:gd name="T3" fmla="*/ 84 h 498"/>
                  <a:gd name="T4" fmla="*/ 106 w 390"/>
                  <a:gd name="T5" fmla="*/ 0 h 498"/>
                  <a:gd name="T6" fmla="*/ 346 w 390"/>
                  <a:gd name="T7" fmla="*/ 297 h 498"/>
                  <a:gd name="T8" fmla="*/ 387 w 390"/>
                  <a:gd name="T9" fmla="*/ 404 h 498"/>
                  <a:gd name="T10" fmla="*/ 374 w 390"/>
                  <a:gd name="T11" fmla="*/ 430 h 498"/>
                  <a:gd name="T12" fmla="*/ 290 w 390"/>
                  <a:gd name="T13" fmla="*/ 498 h 498"/>
                  <a:gd name="T14" fmla="*/ 240 w 390"/>
                  <a:gd name="T15" fmla="*/ 383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498">
                    <a:moveTo>
                      <a:pt x="240" y="383"/>
                    </a:moveTo>
                    <a:lnTo>
                      <a:pt x="0" y="84"/>
                    </a:lnTo>
                    <a:lnTo>
                      <a:pt x="106" y="0"/>
                    </a:lnTo>
                    <a:lnTo>
                      <a:pt x="346" y="297"/>
                    </a:lnTo>
                    <a:cubicBezTo>
                      <a:pt x="374" y="332"/>
                      <a:pt x="390" y="373"/>
                      <a:pt x="387" y="404"/>
                    </a:cubicBezTo>
                    <a:cubicBezTo>
                      <a:pt x="385" y="416"/>
                      <a:pt x="381" y="425"/>
                      <a:pt x="374" y="430"/>
                    </a:cubicBezTo>
                    <a:lnTo>
                      <a:pt x="290" y="498"/>
                    </a:lnTo>
                    <a:cubicBezTo>
                      <a:pt x="291" y="474"/>
                      <a:pt x="272" y="421"/>
                      <a:pt x="240" y="3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03">
                <a:extLst>
                  <a:ext uri="{FF2B5EF4-FFF2-40B4-BE49-F238E27FC236}">
                    <a16:creationId xmlns:a16="http://schemas.microsoft.com/office/drawing/2014/main" id="{D36B1813-B755-4CDB-AE95-CAD774B928DB}"/>
                  </a:ext>
                </a:extLst>
              </p:cNvPr>
              <p:cNvSpPr>
                <a:spLocks noEditPoints="1"/>
              </p:cNvSpPr>
              <p:nvPr/>
            </p:nvSpPr>
            <p:spPr bwMode="auto">
              <a:xfrm>
                <a:off x="4370392" y="1946279"/>
                <a:ext cx="338138" cy="404813"/>
              </a:xfrm>
              <a:custGeom>
                <a:avLst/>
                <a:gdLst>
                  <a:gd name="T0" fmla="*/ 72 w 477"/>
                  <a:gd name="T1" fmla="*/ 123 h 567"/>
                  <a:gd name="T2" fmla="*/ 40 w 477"/>
                  <a:gd name="T3" fmla="*/ 67 h 567"/>
                  <a:gd name="T4" fmla="*/ 73 w 477"/>
                  <a:gd name="T5" fmla="*/ 48 h 567"/>
                  <a:gd name="T6" fmla="*/ 105 w 477"/>
                  <a:gd name="T7" fmla="*/ 105 h 567"/>
                  <a:gd name="T8" fmla="*/ 72 w 477"/>
                  <a:gd name="T9" fmla="*/ 123 h 567"/>
                  <a:gd name="T10" fmla="*/ 142 w 477"/>
                  <a:gd name="T11" fmla="*/ 63 h 567"/>
                  <a:gd name="T12" fmla="*/ 68 w 477"/>
                  <a:gd name="T13" fmla="*/ 6 h 567"/>
                  <a:gd name="T14" fmla="*/ 39 w 477"/>
                  <a:gd name="T15" fmla="*/ 0 h 567"/>
                  <a:gd name="T16" fmla="*/ 16 w 477"/>
                  <a:gd name="T17" fmla="*/ 7 h 567"/>
                  <a:gd name="T18" fmla="*/ 4 w 477"/>
                  <a:gd name="T19" fmla="*/ 33 h 567"/>
                  <a:gd name="T20" fmla="*/ 44 w 477"/>
                  <a:gd name="T21" fmla="*/ 140 h 567"/>
                  <a:gd name="T22" fmla="*/ 336 w 477"/>
                  <a:gd name="T23" fmla="*/ 502 h 567"/>
                  <a:gd name="T24" fmla="*/ 410 w 477"/>
                  <a:gd name="T25" fmla="*/ 559 h 567"/>
                  <a:gd name="T26" fmla="*/ 461 w 477"/>
                  <a:gd name="T27" fmla="*/ 558 h 567"/>
                  <a:gd name="T28" fmla="*/ 474 w 477"/>
                  <a:gd name="T29" fmla="*/ 531 h 567"/>
                  <a:gd name="T30" fmla="*/ 433 w 477"/>
                  <a:gd name="T31" fmla="*/ 425 h 567"/>
                  <a:gd name="T32" fmla="*/ 142 w 477"/>
                  <a:gd name="T33" fmla="*/ 6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7" h="567">
                    <a:moveTo>
                      <a:pt x="72" y="123"/>
                    </a:moveTo>
                    <a:cubicBezTo>
                      <a:pt x="54" y="113"/>
                      <a:pt x="40" y="88"/>
                      <a:pt x="40" y="67"/>
                    </a:cubicBezTo>
                    <a:cubicBezTo>
                      <a:pt x="40" y="46"/>
                      <a:pt x="55" y="38"/>
                      <a:pt x="73" y="48"/>
                    </a:cubicBezTo>
                    <a:cubicBezTo>
                      <a:pt x="91" y="59"/>
                      <a:pt x="105" y="84"/>
                      <a:pt x="105" y="105"/>
                    </a:cubicBezTo>
                    <a:cubicBezTo>
                      <a:pt x="105" y="125"/>
                      <a:pt x="90" y="134"/>
                      <a:pt x="72" y="123"/>
                    </a:cubicBezTo>
                    <a:close/>
                    <a:moveTo>
                      <a:pt x="142" y="63"/>
                    </a:moveTo>
                    <a:cubicBezTo>
                      <a:pt x="120" y="37"/>
                      <a:pt x="93" y="16"/>
                      <a:pt x="68" y="6"/>
                    </a:cubicBezTo>
                    <a:cubicBezTo>
                      <a:pt x="57" y="2"/>
                      <a:pt x="48" y="0"/>
                      <a:pt x="39" y="0"/>
                    </a:cubicBezTo>
                    <a:cubicBezTo>
                      <a:pt x="30" y="0"/>
                      <a:pt x="22" y="2"/>
                      <a:pt x="16" y="7"/>
                    </a:cubicBezTo>
                    <a:cubicBezTo>
                      <a:pt x="9" y="12"/>
                      <a:pt x="5" y="21"/>
                      <a:pt x="4" y="33"/>
                    </a:cubicBezTo>
                    <a:cubicBezTo>
                      <a:pt x="0" y="64"/>
                      <a:pt x="16" y="105"/>
                      <a:pt x="44" y="140"/>
                    </a:cubicBezTo>
                    <a:lnTo>
                      <a:pt x="336" y="502"/>
                    </a:lnTo>
                    <a:cubicBezTo>
                      <a:pt x="357" y="528"/>
                      <a:pt x="384" y="549"/>
                      <a:pt x="410" y="559"/>
                    </a:cubicBezTo>
                    <a:cubicBezTo>
                      <a:pt x="431" y="567"/>
                      <a:pt x="450" y="567"/>
                      <a:pt x="461" y="558"/>
                    </a:cubicBezTo>
                    <a:cubicBezTo>
                      <a:pt x="468" y="553"/>
                      <a:pt x="473" y="544"/>
                      <a:pt x="474" y="531"/>
                    </a:cubicBezTo>
                    <a:cubicBezTo>
                      <a:pt x="477" y="501"/>
                      <a:pt x="462" y="460"/>
                      <a:pt x="433" y="425"/>
                    </a:cubicBezTo>
                    <a:lnTo>
                      <a:pt x="142" y="6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804">
                <a:extLst>
                  <a:ext uri="{FF2B5EF4-FFF2-40B4-BE49-F238E27FC236}">
                    <a16:creationId xmlns:a16="http://schemas.microsoft.com/office/drawing/2014/main" id="{993AB3C9-51DE-49AF-83E2-8DBF98F1DF25}"/>
                  </a:ext>
                </a:extLst>
              </p:cNvPr>
              <p:cNvSpPr>
                <a:spLocks noEditPoints="1"/>
              </p:cNvSpPr>
              <p:nvPr/>
            </p:nvSpPr>
            <p:spPr bwMode="auto">
              <a:xfrm>
                <a:off x="4572005" y="1758954"/>
                <a:ext cx="327025" cy="185738"/>
              </a:xfrm>
              <a:custGeom>
                <a:avLst/>
                <a:gdLst>
                  <a:gd name="T0" fmla="*/ 88 w 460"/>
                  <a:gd name="T1" fmla="*/ 110 h 261"/>
                  <a:gd name="T2" fmla="*/ 58 w 460"/>
                  <a:gd name="T3" fmla="*/ 57 h 261"/>
                  <a:gd name="T4" fmla="*/ 88 w 460"/>
                  <a:gd name="T5" fmla="*/ 39 h 261"/>
                  <a:gd name="T6" fmla="*/ 119 w 460"/>
                  <a:gd name="T7" fmla="*/ 92 h 261"/>
                  <a:gd name="T8" fmla="*/ 88 w 460"/>
                  <a:gd name="T9" fmla="*/ 110 h 261"/>
                  <a:gd name="T10" fmla="*/ 398 w 460"/>
                  <a:gd name="T11" fmla="*/ 123 h 261"/>
                  <a:gd name="T12" fmla="*/ 96 w 460"/>
                  <a:gd name="T13" fmla="*/ 5 h 261"/>
                  <a:gd name="T14" fmla="*/ 68 w 460"/>
                  <a:gd name="T15" fmla="*/ 0 h 261"/>
                  <a:gd name="T16" fmla="*/ 10 w 460"/>
                  <a:gd name="T17" fmla="*/ 43 h 261"/>
                  <a:gd name="T18" fmla="*/ 62 w 460"/>
                  <a:gd name="T19" fmla="*/ 138 h 261"/>
                  <a:gd name="T20" fmla="*/ 364 w 460"/>
                  <a:gd name="T21" fmla="*/ 256 h 261"/>
                  <a:gd name="T22" fmla="*/ 391 w 460"/>
                  <a:gd name="T23" fmla="*/ 261 h 261"/>
                  <a:gd name="T24" fmla="*/ 449 w 460"/>
                  <a:gd name="T25" fmla="*/ 219 h 261"/>
                  <a:gd name="T26" fmla="*/ 398 w 460"/>
                  <a:gd name="T27" fmla="*/ 12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261">
                    <a:moveTo>
                      <a:pt x="88" y="110"/>
                    </a:moveTo>
                    <a:cubicBezTo>
                      <a:pt x="71" y="100"/>
                      <a:pt x="57" y="76"/>
                      <a:pt x="58" y="57"/>
                    </a:cubicBezTo>
                    <a:cubicBezTo>
                      <a:pt x="58" y="37"/>
                      <a:pt x="71" y="29"/>
                      <a:pt x="88" y="39"/>
                    </a:cubicBezTo>
                    <a:cubicBezTo>
                      <a:pt x="105" y="49"/>
                      <a:pt x="119" y="73"/>
                      <a:pt x="119" y="92"/>
                    </a:cubicBezTo>
                    <a:cubicBezTo>
                      <a:pt x="119" y="112"/>
                      <a:pt x="105" y="119"/>
                      <a:pt x="88" y="110"/>
                    </a:cubicBezTo>
                    <a:close/>
                    <a:moveTo>
                      <a:pt x="398" y="123"/>
                    </a:moveTo>
                    <a:lnTo>
                      <a:pt x="96" y="5"/>
                    </a:lnTo>
                    <a:cubicBezTo>
                      <a:pt x="87" y="2"/>
                      <a:pt x="78" y="0"/>
                      <a:pt x="68" y="0"/>
                    </a:cubicBezTo>
                    <a:cubicBezTo>
                      <a:pt x="41" y="0"/>
                      <a:pt x="18" y="17"/>
                      <a:pt x="10" y="43"/>
                    </a:cubicBezTo>
                    <a:cubicBezTo>
                      <a:pt x="0" y="80"/>
                      <a:pt x="23" y="123"/>
                      <a:pt x="62" y="138"/>
                    </a:cubicBezTo>
                    <a:lnTo>
                      <a:pt x="364" y="256"/>
                    </a:lnTo>
                    <a:cubicBezTo>
                      <a:pt x="373" y="260"/>
                      <a:pt x="382" y="261"/>
                      <a:pt x="391" y="261"/>
                    </a:cubicBezTo>
                    <a:cubicBezTo>
                      <a:pt x="419" y="261"/>
                      <a:pt x="442" y="245"/>
                      <a:pt x="449" y="219"/>
                    </a:cubicBezTo>
                    <a:cubicBezTo>
                      <a:pt x="460" y="181"/>
                      <a:pt x="437" y="138"/>
                      <a:pt x="398" y="1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805">
                <a:extLst>
                  <a:ext uri="{FF2B5EF4-FFF2-40B4-BE49-F238E27FC236}">
                    <a16:creationId xmlns:a16="http://schemas.microsoft.com/office/drawing/2014/main" id="{8A6AC41D-8C00-4106-94C7-C8E9E657DED5}"/>
                  </a:ext>
                </a:extLst>
              </p:cNvPr>
              <p:cNvSpPr>
                <a:spLocks/>
              </p:cNvSpPr>
              <p:nvPr/>
            </p:nvSpPr>
            <p:spPr bwMode="auto">
              <a:xfrm>
                <a:off x="4403730" y="1606554"/>
                <a:ext cx="374650" cy="388938"/>
              </a:xfrm>
              <a:custGeom>
                <a:avLst/>
                <a:gdLst>
                  <a:gd name="T0" fmla="*/ 148 w 528"/>
                  <a:gd name="T1" fmla="*/ 218 h 546"/>
                  <a:gd name="T2" fmla="*/ 264 w 528"/>
                  <a:gd name="T3" fmla="*/ 71 h 546"/>
                  <a:gd name="T4" fmla="*/ 414 w 528"/>
                  <a:gd name="T5" fmla="*/ 111 h 546"/>
                  <a:gd name="T6" fmla="*/ 432 w 528"/>
                  <a:gd name="T7" fmla="*/ 117 h 546"/>
                  <a:gd name="T8" fmla="*/ 528 w 528"/>
                  <a:gd name="T9" fmla="*/ 154 h 546"/>
                  <a:gd name="T10" fmla="*/ 252 w 528"/>
                  <a:gd name="T11" fmla="*/ 22 h 546"/>
                  <a:gd name="T12" fmla="*/ 98 w 528"/>
                  <a:gd name="T13" fmla="*/ 211 h 546"/>
                  <a:gd name="T14" fmla="*/ 53 w 528"/>
                  <a:gd name="T15" fmla="*/ 391 h 546"/>
                  <a:gd name="T16" fmla="*/ 24 w 528"/>
                  <a:gd name="T17" fmla="*/ 414 h 546"/>
                  <a:gd name="T18" fmla="*/ 0 w 528"/>
                  <a:gd name="T19" fmla="*/ 437 h 546"/>
                  <a:gd name="T20" fmla="*/ 36 w 528"/>
                  <a:gd name="T21" fmla="*/ 445 h 546"/>
                  <a:gd name="T22" fmla="*/ 127 w 528"/>
                  <a:gd name="T23" fmla="*/ 515 h 546"/>
                  <a:gd name="T24" fmla="*/ 152 w 528"/>
                  <a:gd name="T25" fmla="*/ 546 h 546"/>
                  <a:gd name="T26" fmla="*/ 327 w 528"/>
                  <a:gd name="T27" fmla="*/ 407 h 546"/>
                  <a:gd name="T28" fmla="*/ 283 w 528"/>
                  <a:gd name="T29" fmla="*/ 390 h 546"/>
                  <a:gd name="T30" fmla="*/ 202 w 528"/>
                  <a:gd name="T31" fmla="*/ 272 h 546"/>
                  <a:gd name="T32" fmla="*/ 124 w 528"/>
                  <a:gd name="T33" fmla="*/ 334 h 546"/>
                  <a:gd name="T34" fmla="*/ 148 w 528"/>
                  <a:gd name="T35" fmla="*/ 21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8" h="546">
                    <a:moveTo>
                      <a:pt x="148" y="218"/>
                    </a:moveTo>
                    <a:cubicBezTo>
                      <a:pt x="158" y="142"/>
                      <a:pt x="203" y="85"/>
                      <a:pt x="264" y="71"/>
                    </a:cubicBezTo>
                    <a:cubicBezTo>
                      <a:pt x="312" y="59"/>
                      <a:pt x="363" y="74"/>
                      <a:pt x="414" y="111"/>
                    </a:cubicBezTo>
                    <a:cubicBezTo>
                      <a:pt x="420" y="112"/>
                      <a:pt x="426" y="114"/>
                      <a:pt x="432" y="117"/>
                    </a:cubicBezTo>
                    <a:lnTo>
                      <a:pt x="528" y="154"/>
                    </a:lnTo>
                    <a:cubicBezTo>
                      <a:pt x="443" y="48"/>
                      <a:pt x="344" y="0"/>
                      <a:pt x="252" y="22"/>
                    </a:cubicBezTo>
                    <a:cubicBezTo>
                      <a:pt x="171" y="42"/>
                      <a:pt x="112" y="114"/>
                      <a:pt x="98" y="211"/>
                    </a:cubicBezTo>
                    <a:cubicBezTo>
                      <a:pt x="89" y="273"/>
                      <a:pt x="70" y="346"/>
                      <a:pt x="53" y="391"/>
                    </a:cubicBezTo>
                    <a:lnTo>
                      <a:pt x="24" y="414"/>
                    </a:lnTo>
                    <a:cubicBezTo>
                      <a:pt x="14" y="420"/>
                      <a:pt x="7" y="428"/>
                      <a:pt x="0" y="437"/>
                    </a:cubicBezTo>
                    <a:cubicBezTo>
                      <a:pt x="12" y="438"/>
                      <a:pt x="24" y="440"/>
                      <a:pt x="36" y="445"/>
                    </a:cubicBezTo>
                    <a:cubicBezTo>
                      <a:pt x="68" y="458"/>
                      <a:pt x="101" y="483"/>
                      <a:pt x="127" y="515"/>
                    </a:cubicBezTo>
                    <a:lnTo>
                      <a:pt x="152" y="546"/>
                    </a:lnTo>
                    <a:lnTo>
                      <a:pt x="327" y="407"/>
                    </a:lnTo>
                    <a:lnTo>
                      <a:pt x="283" y="390"/>
                    </a:lnTo>
                    <a:cubicBezTo>
                      <a:pt x="234" y="370"/>
                      <a:pt x="201" y="321"/>
                      <a:pt x="202" y="272"/>
                    </a:cubicBezTo>
                    <a:lnTo>
                      <a:pt x="124" y="334"/>
                    </a:lnTo>
                    <a:cubicBezTo>
                      <a:pt x="135" y="300"/>
                      <a:pt x="143" y="254"/>
                      <a:pt x="148" y="2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806">
                <a:extLst>
                  <a:ext uri="{FF2B5EF4-FFF2-40B4-BE49-F238E27FC236}">
                    <a16:creationId xmlns:a16="http://schemas.microsoft.com/office/drawing/2014/main" id="{2FA6A784-D91F-4F28-91FF-53F622E4827F}"/>
                  </a:ext>
                </a:extLst>
              </p:cNvPr>
              <p:cNvSpPr>
                <a:spLocks/>
              </p:cNvSpPr>
              <p:nvPr/>
            </p:nvSpPr>
            <p:spPr bwMode="auto">
              <a:xfrm>
                <a:off x="4638680" y="1712916"/>
                <a:ext cx="444500" cy="193675"/>
              </a:xfrm>
              <a:custGeom>
                <a:avLst/>
                <a:gdLst>
                  <a:gd name="T0" fmla="*/ 627 w 627"/>
                  <a:gd name="T1" fmla="*/ 189 h 273"/>
                  <a:gd name="T2" fmla="*/ 508 w 627"/>
                  <a:gd name="T3" fmla="*/ 135 h 273"/>
                  <a:gd name="T4" fmla="*/ 407 w 627"/>
                  <a:gd name="T5" fmla="*/ 152 h 273"/>
                  <a:gd name="T6" fmla="*/ 362 w 627"/>
                  <a:gd name="T7" fmla="*/ 114 h 273"/>
                  <a:gd name="T8" fmla="*/ 87 w 627"/>
                  <a:gd name="T9" fmla="*/ 6 h 273"/>
                  <a:gd name="T10" fmla="*/ 55 w 627"/>
                  <a:gd name="T11" fmla="*/ 0 h 273"/>
                  <a:gd name="T12" fmla="*/ 0 w 627"/>
                  <a:gd name="T13" fmla="*/ 24 h 273"/>
                  <a:gd name="T14" fmla="*/ 38 w 627"/>
                  <a:gd name="T15" fmla="*/ 39 h 273"/>
                  <a:gd name="T16" fmla="*/ 319 w 627"/>
                  <a:gd name="T17" fmla="*/ 148 h 273"/>
                  <a:gd name="T18" fmla="*/ 399 w 627"/>
                  <a:gd name="T19" fmla="*/ 273 h 273"/>
                  <a:gd name="T20" fmla="*/ 485 w 627"/>
                  <a:gd name="T21" fmla="*/ 219 h 273"/>
                  <a:gd name="T22" fmla="*/ 584 w 627"/>
                  <a:gd name="T23" fmla="*/ 264 h 273"/>
                  <a:gd name="T24" fmla="*/ 584 w 627"/>
                  <a:gd name="T25" fmla="*/ 264 h 273"/>
                  <a:gd name="T26" fmla="*/ 606 w 627"/>
                  <a:gd name="T27" fmla="*/ 251 h 273"/>
                  <a:gd name="T28" fmla="*/ 606 w 627"/>
                  <a:gd name="T29" fmla="*/ 251 h 273"/>
                  <a:gd name="T30" fmla="*/ 627 w 627"/>
                  <a:gd name="T31" fmla="*/ 189 h 273"/>
                  <a:gd name="T32" fmla="*/ 627 w 627"/>
                  <a:gd name="T33" fmla="*/ 189 h 273"/>
                  <a:gd name="T34" fmla="*/ 627 w 627"/>
                  <a:gd name="T35" fmla="*/ 18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7" h="273">
                    <a:moveTo>
                      <a:pt x="627" y="189"/>
                    </a:moveTo>
                    <a:lnTo>
                      <a:pt x="508" y="135"/>
                    </a:lnTo>
                    <a:lnTo>
                      <a:pt x="407" y="152"/>
                    </a:lnTo>
                    <a:cubicBezTo>
                      <a:pt x="397" y="135"/>
                      <a:pt x="381" y="122"/>
                      <a:pt x="362" y="114"/>
                    </a:cubicBezTo>
                    <a:lnTo>
                      <a:pt x="87" y="6"/>
                    </a:lnTo>
                    <a:cubicBezTo>
                      <a:pt x="76" y="2"/>
                      <a:pt x="65" y="0"/>
                      <a:pt x="55" y="0"/>
                    </a:cubicBezTo>
                    <a:cubicBezTo>
                      <a:pt x="33" y="0"/>
                      <a:pt x="14" y="9"/>
                      <a:pt x="0" y="24"/>
                    </a:cubicBezTo>
                    <a:cubicBezTo>
                      <a:pt x="14" y="26"/>
                      <a:pt x="26" y="31"/>
                      <a:pt x="38" y="39"/>
                    </a:cubicBezTo>
                    <a:lnTo>
                      <a:pt x="319" y="148"/>
                    </a:lnTo>
                    <a:cubicBezTo>
                      <a:pt x="370" y="169"/>
                      <a:pt x="403" y="222"/>
                      <a:pt x="399" y="273"/>
                    </a:cubicBezTo>
                    <a:lnTo>
                      <a:pt x="485" y="219"/>
                    </a:lnTo>
                    <a:lnTo>
                      <a:pt x="584" y="264"/>
                    </a:lnTo>
                    <a:lnTo>
                      <a:pt x="584" y="264"/>
                    </a:lnTo>
                    <a:lnTo>
                      <a:pt x="606" y="251"/>
                    </a:lnTo>
                    <a:lnTo>
                      <a:pt x="606" y="251"/>
                    </a:lnTo>
                    <a:lnTo>
                      <a:pt x="627" y="189"/>
                    </a:lnTo>
                    <a:lnTo>
                      <a:pt x="627" y="189"/>
                    </a:lnTo>
                    <a:lnTo>
                      <a:pt x="627" y="1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 name="Wifi3">
              <a:extLst>
                <a:ext uri="{FF2B5EF4-FFF2-40B4-BE49-F238E27FC236}">
                  <a16:creationId xmlns:a16="http://schemas.microsoft.com/office/drawing/2014/main" id="{3B2F7B56-A199-4D38-BEB1-6B0569ABBFF7}"/>
                </a:ext>
              </a:extLst>
            </p:cNvPr>
            <p:cNvGrpSpPr>
              <a:grpSpLocks noChangeAspect="1"/>
            </p:cNvGrpSpPr>
            <p:nvPr>
              <p:custDataLst>
                <p:tags r:id="rId6"/>
              </p:custDataLst>
            </p:nvPr>
          </p:nvGrpSpPr>
          <p:grpSpPr bwMode="auto">
            <a:xfrm rot="2518363">
              <a:off x="1149571" y="6489119"/>
              <a:ext cx="473560" cy="321805"/>
              <a:chOff x="2405" y="2885"/>
              <a:chExt cx="880" cy="598"/>
            </a:xfrm>
            <a:grpFill/>
          </p:grpSpPr>
          <p:sp>
            <p:nvSpPr>
              <p:cNvPr id="80" name="Freeform 14">
                <a:extLst>
                  <a:ext uri="{FF2B5EF4-FFF2-40B4-BE49-F238E27FC236}">
                    <a16:creationId xmlns:a16="http://schemas.microsoft.com/office/drawing/2014/main" id="{DCB3D35D-FF3D-4DFF-ADF9-56003BC1EF1A}"/>
                  </a:ext>
                </a:extLst>
              </p:cNvPr>
              <p:cNvSpPr>
                <a:spLocks/>
              </p:cNvSpPr>
              <p:nvPr/>
            </p:nvSpPr>
            <p:spPr bwMode="auto">
              <a:xfrm>
                <a:off x="2405" y="2885"/>
                <a:ext cx="880" cy="274"/>
              </a:xfrm>
              <a:custGeom>
                <a:avLst/>
                <a:gdLst>
                  <a:gd name="T0" fmla="*/ 21642 w 23246"/>
                  <a:gd name="T1" fmla="*/ 7075 h 7218"/>
                  <a:gd name="T2" fmla="*/ 20609 w 23246"/>
                  <a:gd name="T3" fmla="*/ 6647 h 7218"/>
                  <a:gd name="T4" fmla="*/ 11623 w 23246"/>
                  <a:gd name="T5" fmla="*/ 2922 h 7218"/>
                  <a:gd name="T6" fmla="*/ 2636 w 23246"/>
                  <a:gd name="T7" fmla="*/ 6647 h 7218"/>
                  <a:gd name="T8" fmla="*/ 571 w 23246"/>
                  <a:gd name="T9" fmla="*/ 6647 h 7218"/>
                  <a:gd name="T10" fmla="*/ 571 w 23246"/>
                  <a:gd name="T11" fmla="*/ 4581 h 7218"/>
                  <a:gd name="T12" fmla="*/ 5743 w 23246"/>
                  <a:gd name="T13" fmla="*/ 1146 h 7218"/>
                  <a:gd name="T14" fmla="*/ 11623 w 23246"/>
                  <a:gd name="T15" fmla="*/ 0 h 7218"/>
                  <a:gd name="T16" fmla="*/ 17503 w 23246"/>
                  <a:gd name="T17" fmla="*/ 1146 h 7218"/>
                  <a:gd name="T18" fmla="*/ 22675 w 23246"/>
                  <a:gd name="T19" fmla="*/ 4581 h 7218"/>
                  <a:gd name="T20" fmla="*/ 22675 w 23246"/>
                  <a:gd name="T21" fmla="*/ 6647 h 7218"/>
                  <a:gd name="T22" fmla="*/ 21642 w 23246"/>
                  <a:gd name="T23" fmla="*/ 7075 h 7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246" h="7218">
                    <a:moveTo>
                      <a:pt x="21642" y="7075"/>
                    </a:moveTo>
                    <a:cubicBezTo>
                      <a:pt x="21268" y="7075"/>
                      <a:pt x="20894" y="6932"/>
                      <a:pt x="20609" y="6647"/>
                    </a:cubicBezTo>
                    <a:cubicBezTo>
                      <a:pt x="18207" y="4245"/>
                      <a:pt x="15015" y="2922"/>
                      <a:pt x="11623" y="2922"/>
                    </a:cubicBezTo>
                    <a:cubicBezTo>
                      <a:pt x="8230" y="2922"/>
                      <a:pt x="5039" y="4245"/>
                      <a:pt x="2636" y="6647"/>
                    </a:cubicBezTo>
                    <a:cubicBezTo>
                      <a:pt x="2066" y="7218"/>
                      <a:pt x="1141" y="7218"/>
                      <a:pt x="571" y="6647"/>
                    </a:cubicBezTo>
                    <a:cubicBezTo>
                      <a:pt x="0" y="6077"/>
                      <a:pt x="0" y="5152"/>
                      <a:pt x="571" y="4581"/>
                    </a:cubicBezTo>
                    <a:cubicBezTo>
                      <a:pt x="2063" y="3089"/>
                      <a:pt x="3803" y="1933"/>
                      <a:pt x="5743" y="1146"/>
                    </a:cubicBezTo>
                    <a:cubicBezTo>
                      <a:pt x="7616" y="385"/>
                      <a:pt x="9594" y="0"/>
                      <a:pt x="11623" y="0"/>
                    </a:cubicBezTo>
                    <a:cubicBezTo>
                      <a:pt x="13652" y="0"/>
                      <a:pt x="15630" y="385"/>
                      <a:pt x="17503" y="1146"/>
                    </a:cubicBezTo>
                    <a:cubicBezTo>
                      <a:pt x="19442" y="1933"/>
                      <a:pt x="21182" y="3089"/>
                      <a:pt x="22675" y="4581"/>
                    </a:cubicBezTo>
                    <a:cubicBezTo>
                      <a:pt x="23246" y="5152"/>
                      <a:pt x="23246" y="6077"/>
                      <a:pt x="22675" y="6647"/>
                    </a:cubicBezTo>
                    <a:cubicBezTo>
                      <a:pt x="22390" y="6932"/>
                      <a:pt x="22016" y="7075"/>
                      <a:pt x="21642" y="70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5">
                <a:extLst>
                  <a:ext uri="{FF2B5EF4-FFF2-40B4-BE49-F238E27FC236}">
                    <a16:creationId xmlns:a16="http://schemas.microsoft.com/office/drawing/2014/main" id="{65503BF3-6333-4577-9394-00F05C8BE459}"/>
                  </a:ext>
                </a:extLst>
              </p:cNvPr>
              <p:cNvSpPr>
                <a:spLocks/>
              </p:cNvSpPr>
              <p:nvPr/>
            </p:nvSpPr>
            <p:spPr bwMode="auto">
              <a:xfrm>
                <a:off x="2519" y="3098"/>
                <a:ext cx="653" cy="227"/>
              </a:xfrm>
              <a:custGeom>
                <a:avLst/>
                <a:gdLst>
                  <a:gd name="T0" fmla="*/ 15630 w 17234"/>
                  <a:gd name="T1" fmla="*/ 5829 h 5971"/>
                  <a:gd name="T2" fmla="*/ 14597 w 17234"/>
                  <a:gd name="T3" fmla="*/ 5401 h 5971"/>
                  <a:gd name="T4" fmla="*/ 8617 w 17234"/>
                  <a:gd name="T5" fmla="*/ 2921 h 5971"/>
                  <a:gd name="T6" fmla="*/ 2636 w 17234"/>
                  <a:gd name="T7" fmla="*/ 5401 h 5971"/>
                  <a:gd name="T8" fmla="*/ 570 w 17234"/>
                  <a:gd name="T9" fmla="*/ 5401 h 5971"/>
                  <a:gd name="T10" fmla="*/ 570 w 17234"/>
                  <a:gd name="T11" fmla="*/ 3335 h 5971"/>
                  <a:gd name="T12" fmla="*/ 8617 w 17234"/>
                  <a:gd name="T13" fmla="*/ 0 h 5971"/>
                  <a:gd name="T14" fmla="*/ 16663 w 17234"/>
                  <a:gd name="T15" fmla="*/ 3335 h 5971"/>
                  <a:gd name="T16" fmla="*/ 16663 w 17234"/>
                  <a:gd name="T17" fmla="*/ 5401 h 5971"/>
                  <a:gd name="T18" fmla="*/ 15630 w 17234"/>
                  <a:gd name="T19" fmla="*/ 5829 h 5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34" h="5971">
                    <a:moveTo>
                      <a:pt x="15630" y="5829"/>
                    </a:moveTo>
                    <a:cubicBezTo>
                      <a:pt x="15256" y="5829"/>
                      <a:pt x="14883" y="5686"/>
                      <a:pt x="14597" y="5401"/>
                    </a:cubicBezTo>
                    <a:cubicBezTo>
                      <a:pt x="12998" y="3802"/>
                      <a:pt x="10874" y="2921"/>
                      <a:pt x="8617" y="2921"/>
                    </a:cubicBezTo>
                    <a:cubicBezTo>
                      <a:pt x="6359" y="2921"/>
                      <a:pt x="4235" y="3802"/>
                      <a:pt x="2636" y="5401"/>
                    </a:cubicBezTo>
                    <a:cubicBezTo>
                      <a:pt x="2066" y="5971"/>
                      <a:pt x="1141" y="5971"/>
                      <a:pt x="570" y="5401"/>
                    </a:cubicBezTo>
                    <a:cubicBezTo>
                      <a:pt x="0" y="4830"/>
                      <a:pt x="0" y="3905"/>
                      <a:pt x="570" y="3335"/>
                    </a:cubicBezTo>
                    <a:cubicBezTo>
                      <a:pt x="2721" y="1184"/>
                      <a:pt x="5579" y="0"/>
                      <a:pt x="8617" y="0"/>
                    </a:cubicBezTo>
                    <a:cubicBezTo>
                      <a:pt x="11655" y="0"/>
                      <a:pt x="14512" y="1184"/>
                      <a:pt x="16663" y="3335"/>
                    </a:cubicBezTo>
                    <a:cubicBezTo>
                      <a:pt x="17234" y="3905"/>
                      <a:pt x="17234" y="4830"/>
                      <a:pt x="16663" y="5401"/>
                    </a:cubicBezTo>
                    <a:cubicBezTo>
                      <a:pt x="16378" y="5686"/>
                      <a:pt x="16004" y="5829"/>
                      <a:pt x="15630" y="58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6">
                <a:extLst>
                  <a:ext uri="{FF2B5EF4-FFF2-40B4-BE49-F238E27FC236}">
                    <a16:creationId xmlns:a16="http://schemas.microsoft.com/office/drawing/2014/main" id="{13F12837-36FB-4813-AE09-6462BF57985E}"/>
                  </a:ext>
                </a:extLst>
              </p:cNvPr>
              <p:cNvSpPr>
                <a:spLocks/>
              </p:cNvSpPr>
              <p:nvPr/>
            </p:nvSpPr>
            <p:spPr bwMode="auto">
              <a:xfrm>
                <a:off x="2671" y="3319"/>
                <a:ext cx="349" cy="164"/>
              </a:xfrm>
              <a:custGeom>
                <a:avLst/>
                <a:gdLst>
                  <a:gd name="T0" fmla="*/ 7615 w 9218"/>
                  <a:gd name="T1" fmla="*/ 4167 h 4310"/>
                  <a:gd name="T2" fmla="*/ 6582 w 9218"/>
                  <a:gd name="T3" fmla="*/ 3740 h 4310"/>
                  <a:gd name="T4" fmla="*/ 2636 w 9218"/>
                  <a:gd name="T5" fmla="*/ 3740 h 4310"/>
                  <a:gd name="T6" fmla="*/ 570 w 9218"/>
                  <a:gd name="T7" fmla="*/ 3740 h 4310"/>
                  <a:gd name="T8" fmla="*/ 570 w 9218"/>
                  <a:gd name="T9" fmla="*/ 1674 h 4310"/>
                  <a:gd name="T10" fmla="*/ 4609 w 9218"/>
                  <a:gd name="T11" fmla="*/ 0 h 4310"/>
                  <a:gd name="T12" fmla="*/ 8648 w 9218"/>
                  <a:gd name="T13" fmla="*/ 1674 h 4310"/>
                  <a:gd name="T14" fmla="*/ 8648 w 9218"/>
                  <a:gd name="T15" fmla="*/ 3740 h 4310"/>
                  <a:gd name="T16" fmla="*/ 7615 w 9218"/>
                  <a:gd name="T17" fmla="*/ 4167 h 4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18" h="4310">
                    <a:moveTo>
                      <a:pt x="7615" y="4167"/>
                    </a:moveTo>
                    <a:cubicBezTo>
                      <a:pt x="7241" y="4167"/>
                      <a:pt x="6867" y="4025"/>
                      <a:pt x="6582" y="3740"/>
                    </a:cubicBezTo>
                    <a:cubicBezTo>
                      <a:pt x="5494" y="2652"/>
                      <a:pt x="3724" y="2652"/>
                      <a:pt x="2636" y="3740"/>
                    </a:cubicBezTo>
                    <a:cubicBezTo>
                      <a:pt x="2065" y="4310"/>
                      <a:pt x="1141" y="4310"/>
                      <a:pt x="570" y="3740"/>
                    </a:cubicBezTo>
                    <a:cubicBezTo>
                      <a:pt x="0" y="3169"/>
                      <a:pt x="0" y="2244"/>
                      <a:pt x="570" y="1674"/>
                    </a:cubicBezTo>
                    <a:cubicBezTo>
                      <a:pt x="1650" y="594"/>
                      <a:pt x="3084" y="0"/>
                      <a:pt x="4609" y="0"/>
                    </a:cubicBezTo>
                    <a:cubicBezTo>
                      <a:pt x="6134" y="0"/>
                      <a:pt x="7568" y="594"/>
                      <a:pt x="8648" y="1674"/>
                    </a:cubicBezTo>
                    <a:cubicBezTo>
                      <a:pt x="9218" y="2244"/>
                      <a:pt x="9218" y="3169"/>
                      <a:pt x="8648" y="3740"/>
                    </a:cubicBezTo>
                    <a:cubicBezTo>
                      <a:pt x="8362" y="4025"/>
                      <a:pt x="7988" y="4167"/>
                      <a:pt x="7615" y="41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90" name="Technology2" descr="{&quot;Key&quot;:&quot;POWER_USER_SHAPE_ICON&quot;,&quot;Value&quot;:&quot;POWER_USER_SHAPE_ICON_STYLE_1&quot;}">
            <a:extLst>
              <a:ext uri="{FF2B5EF4-FFF2-40B4-BE49-F238E27FC236}">
                <a16:creationId xmlns:a16="http://schemas.microsoft.com/office/drawing/2014/main" id="{B3C9FB07-BF89-458B-B547-25DB21DE7BDE}"/>
              </a:ext>
            </a:extLst>
          </p:cNvPr>
          <p:cNvGrpSpPr>
            <a:grpSpLocks noChangeAspect="1"/>
          </p:cNvGrpSpPr>
          <p:nvPr/>
        </p:nvGrpSpPr>
        <p:grpSpPr>
          <a:xfrm>
            <a:off x="5835228" y="4833598"/>
            <a:ext cx="521542" cy="512702"/>
            <a:chOff x="2349501" y="5734051"/>
            <a:chExt cx="749300" cy="736600"/>
          </a:xfrm>
          <a:solidFill>
            <a:schemeClr val="tx2">
              <a:lumMod val="50000"/>
            </a:schemeClr>
          </a:solidFill>
        </p:grpSpPr>
        <p:sp>
          <p:nvSpPr>
            <p:cNvPr id="92" name="Freeform: Shape 563">
              <a:extLst>
                <a:ext uri="{FF2B5EF4-FFF2-40B4-BE49-F238E27FC236}">
                  <a16:creationId xmlns:a16="http://schemas.microsoft.com/office/drawing/2014/main" id="{FCED2625-6C48-4F48-8F22-6E7B0797F735}"/>
                </a:ext>
              </a:extLst>
            </p:cNvPr>
            <p:cNvSpPr>
              <a:spLocks/>
            </p:cNvSpPr>
            <p:nvPr/>
          </p:nvSpPr>
          <p:spPr bwMode="auto">
            <a:xfrm>
              <a:off x="2349501" y="5756276"/>
              <a:ext cx="352425" cy="704850"/>
            </a:xfrm>
            <a:custGeom>
              <a:avLst/>
              <a:gdLst>
                <a:gd name="connsiteX0" fmla="*/ 311917 w 352425"/>
                <a:gd name="connsiteY0" fmla="*/ 0 h 704850"/>
                <a:gd name="connsiteX1" fmla="*/ 352425 w 352425"/>
                <a:gd name="connsiteY1" fmla="*/ 0 h 704850"/>
                <a:gd name="connsiteX2" fmla="*/ 352425 w 352425"/>
                <a:gd name="connsiteY2" fmla="*/ 193675 h 704850"/>
                <a:gd name="connsiteX3" fmla="*/ 193675 w 352425"/>
                <a:gd name="connsiteY3" fmla="*/ 352762 h 704850"/>
                <a:gd name="connsiteX4" fmla="*/ 352425 w 352425"/>
                <a:gd name="connsiteY4" fmla="*/ 511175 h 704850"/>
                <a:gd name="connsiteX5" fmla="*/ 352425 w 352425"/>
                <a:gd name="connsiteY5" fmla="*/ 704850 h 704850"/>
                <a:gd name="connsiteX6" fmla="*/ 311917 w 352425"/>
                <a:gd name="connsiteY6" fmla="*/ 704850 h 704850"/>
                <a:gd name="connsiteX7" fmla="*/ 281535 w 352425"/>
                <a:gd name="connsiteY7" fmla="*/ 671061 h 704850"/>
                <a:gd name="connsiteX8" fmla="*/ 281535 w 352425"/>
                <a:gd name="connsiteY8" fmla="*/ 650787 h 704850"/>
                <a:gd name="connsiteX9" fmla="*/ 259255 w 352425"/>
                <a:gd name="connsiteY9" fmla="*/ 619025 h 704850"/>
                <a:gd name="connsiteX10" fmla="*/ 230224 w 352425"/>
                <a:gd name="connsiteY10" fmla="*/ 606861 h 704850"/>
                <a:gd name="connsiteX11" fmla="*/ 191066 w 352425"/>
                <a:gd name="connsiteY11" fmla="*/ 614294 h 704850"/>
                <a:gd name="connsiteX12" fmla="*/ 175537 w 352425"/>
                <a:gd name="connsiteY12" fmla="*/ 629837 h 704850"/>
                <a:gd name="connsiteX13" fmla="*/ 131653 w 352425"/>
                <a:gd name="connsiteY13" fmla="*/ 629837 h 704850"/>
                <a:gd name="connsiteX14" fmla="*/ 74941 w 352425"/>
                <a:gd name="connsiteY14" fmla="*/ 573071 h 704850"/>
                <a:gd name="connsiteX15" fmla="*/ 76967 w 352425"/>
                <a:gd name="connsiteY15" fmla="*/ 527117 h 704850"/>
                <a:gd name="connsiteX16" fmla="*/ 91145 w 352425"/>
                <a:gd name="connsiteY16" fmla="*/ 512926 h 704850"/>
                <a:gd name="connsiteX17" fmla="*/ 97896 w 352425"/>
                <a:gd name="connsiteY17" fmla="*/ 475081 h 704850"/>
                <a:gd name="connsiteX18" fmla="*/ 86419 w 352425"/>
                <a:gd name="connsiteY18" fmla="*/ 446698 h 704850"/>
                <a:gd name="connsiteX19" fmla="*/ 53336 w 352425"/>
                <a:gd name="connsiteY19" fmla="*/ 423721 h 704850"/>
                <a:gd name="connsiteX20" fmla="*/ 31057 w 352425"/>
                <a:gd name="connsiteY20" fmla="*/ 423721 h 704850"/>
                <a:gd name="connsiteX21" fmla="*/ 0 w 352425"/>
                <a:gd name="connsiteY21" fmla="*/ 392635 h 704850"/>
                <a:gd name="connsiteX22" fmla="*/ 0 w 352425"/>
                <a:gd name="connsiteY22" fmla="*/ 312216 h 704850"/>
                <a:gd name="connsiteX23" fmla="*/ 31057 w 352425"/>
                <a:gd name="connsiteY23" fmla="*/ 281805 h 704850"/>
                <a:gd name="connsiteX24" fmla="*/ 53336 w 352425"/>
                <a:gd name="connsiteY24" fmla="*/ 281805 h 704850"/>
                <a:gd name="connsiteX25" fmla="*/ 86419 w 352425"/>
                <a:gd name="connsiteY25" fmla="*/ 258152 h 704850"/>
                <a:gd name="connsiteX26" fmla="*/ 97896 w 352425"/>
                <a:gd name="connsiteY26" fmla="*/ 230445 h 704850"/>
                <a:gd name="connsiteX27" fmla="*/ 90469 w 352425"/>
                <a:gd name="connsiteY27" fmla="*/ 191249 h 704850"/>
                <a:gd name="connsiteX28" fmla="*/ 74941 w 352425"/>
                <a:gd name="connsiteY28" fmla="*/ 175706 h 704850"/>
                <a:gd name="connsiteX29" fmla="*/ 74941 w 352425"/>
                <a:gd name="connsiteY29" fmla="*/ 131779 h 704850"/>
                <a:gd name="connsiteX30" fmla="*/ 131653 w 352425"/>
                <a:gd name="connsiteY30" fmla="*/ 75013 h 704850"/>
                <a:gd name="connsiteX31" fmla="*/ 177563 w 352425"/>
                <a:gd name="connsiteY31" fmla="*/ 77040 h 704850"/>
                <a:gd name="connsiteX32" fmla="*/ 191741 w 352425"/>
                <a:gd name="connsiteY32" fmla="*/ 91232 h 704850"/>
                <a:gd name="connsiteX33" fmla="*/ 229549 w 352425"/>
                <a:gd name="connsiteY33" fmla="*/ 97990 h 704850"/>
                <a:gd name="connsiteX34" fmla="*/ 257905 w 352425"/>
                <a:gd name="connsiteY34" fmla="*/ 86501 h 704850"/>
                <a:gd name="connsiteX35" fmla="*/ 281535 w 352425"/>
                <a:gd name="connsiteY35" fmla="*/ 53388 h 704850"/>
                <a:gd name="connsiteX36" fmla="*/ 281535 w 352425"/>
                <a:gd name="connsiteY36" fmla="*/ 31087 h 704850"/>
                <a:gd name="connsiteX37" fmla="*/ 311917 w 352425"/>
                <a:gd name="connsiteY37" fmla="*/ 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2425" h="704850">
                  <a:moveTo>
                    <a:pt x="311917" y="0"/>
                  </a:moveTo>
                  <a:lnTo>
                    <a:pt x="352425" y="0"/>
                  </a:lnTo>
                  <a:lnTo>
                    <a:pt x="352425" y="193675"/>
                  </a:lnTo>
                  <a:cubicBezTo>
                    <a:pt x="264305" y="193675"/>
                    <a:pt x="193675" y="264456"/>
                    <a:pt x="193675" y="352762"/>
                  </a:cubicBezTo>
                  <a:cubicBezTo>
                    <a:pt x="193675" y="440395"/>
                    <a:pt x="264305" y="511175"/>
                    <a:pt x="352425" y="511175"/>
                  </a:cubicBezTo>
                  <a:lnTo>
                    <a:pt x="352425" y="704850"/>
                  </a:lnTo>
                  <a:lnTo>
                    <a:pt x="311917" y="704850"/>
                  </a:lnTo>
                  <a:cubicBezTo>
                    <a:pt x="295038" y="704850"/>
                    <a:pt x="281535" y="690659"/>
                    <a:pt x="281535" y="671061"/>
                  </a:cubicBezTo>
                  <a:lnTo>
                    <a:pt x="281535" y="650787"/>
                  </a:lnTo>
                  <a:cubicBezTo>
                    <a:pt x="281535" y="636595"/>
                    <a:pt x="272758" y="623755"/>
                    <a:pt x="259255" y="619025"/>
                  </a:cubicBezTo>
                  <a:cubicBezTo>
                    <a:pt x="249128" y="615646"/>
                    <a:pt x="239676" y="611591"/>
                    <a:pt x="230224" y="606861"/>
                  </a:cubicBezTo>
                  <a:cubicBezTo>
                    <a:pt x="217396" y="600778"/>
                    <a:pt x="201193" y="603482"/>
                    <a:pt x="191066" y="614294"/>
                  </a:cubicBezTo>
                  <a:lnTo>
                    <a:pt x="175537" y="629837"/>
                  </a:lnTo>
                  <a:cubicBezTo>
                    <a:pt x="163385" y="642002"/>
                    <a:pt x="143806" y="642002"/>
                    <a:pt x="131653" y="629837"/>
                  </a:cubicBezTo>
                  <a:lnTo>
                    <a:pt x="74941" y="573071"/>
                  </a:lnTo>
                  <a:cubicBezTo>
                    <a:pt x="62788" y="560907"/>
                    <a:pt x="62788" y="541309"/>
                    <a:pt x="76967" y="527117"/>
                  </a:cubicBezTo>
                  <a:lnTo>
                    <a:pt x="91145" y="512926"/>
                  </a:lnTo>
                  <a:cubicBezTo>
                    <a:pt x="101272" y="502789"/>
                    <a:pt x="103972" y="487921"/>
                    <a:pt x="97896" y="475081"/>
                  </a:cubicBezTo>
                  <a:cubicBezTo>
                    <a:pt x="93845" y="465620"/>
                    <a:pt x="89794" y="456159"/>
                    <a:pt x="86419" y="446698"/>
                  </a:cubicBezTo>
                  <a:cubicBezTo>
                    <a:pt x="81017" y="432506"/>
                    <a:pt x="68190" y="423721"/>
                    <a:pt x="53336" y="423721"/>
                  </a:cubicBezTo>
                  <a:lnTo>
                    <a:pt x="31057" y="423721"/>
                  </a:lnTo>
                  <a:cubicBezTo>
                    <a:pt x="14178" y="423721"/>
                    <a:pt x="0" y="409530"/>
                    <a:pt x="0" y="392635"/>
                  </a:cubicBezTo>
                  <a:lnTo>
                    <a:pt x="0" y="312216"/>
                  </a:lnTo>
                  <a:cubicBezTo>
                    <a:pt x="0" y="295321"/>
                    <a:pt x="14178" y="281805"/>
                    <a:pt x="31057" y="281805"/>
                  </a:cubicBezTo>
                  <a:lnTo>
                    <a:pt x="53336" y="281805"/>
                  </a:lnTo>
                  <a:cubicBezTo>
                    <a:pt x="68190" y="281805"/>
                    <a:pt x="81017" y="272344"/>
                    <a:pt x="86419" y="258152"/>
                  </a:cubicBezTo>
                  <a:cubicBezTo>
                    <a:pt x="89794" y="248691"/>
                    <a:pt x="93170" y="239906"/>
                    <a:pt x="97896" y="230445"/>
                  </a:cubicBezTo>
                  <a:cubicBezTo>
                    <a:pt x="103972" y="217605"/>
                    <a:pt x="101272" y="201386"/>
                    <a:pt x="90469" y="191249"/>
                  </a:cubicBezTo>
                  <a:lnTo>
                    <a:pt x="74941" y="175706"/>
                  </a:lnTo>
                  <a:cubicBezTo>
                    <a:pt x="62788" y="163542"/>
                    <a:pt x="62788" y="143944"/>
                    <a:pt x="74941" y="131779"/>
                  </a:cubicBezTo>
                  <a:lnTo>
                    <a:pt x="131653" y="75013"/>
                  </a:lnTo>
                  <a:cubicBezTo>
                    <a:pt x="143806" y="62849"/>
                    <a:pt x="163385" y="62849"/>
                    <a:pt x="177563" y="77040"/>
                  </a:cubicBezTo>
                  <a:lnTo>
                    <a:pt x="191741" y="91232"/>
                  </a:lnTo>
                  <a:cubicBezTo>
                    <a:pt x="201868" y="101369"/>
                    <a:pt x="216721" y="104072"/>
                    <a:pt x="229549" y="97990"/>
                  </a:cubicBezTo>
                  <a:cubicBezTo>
                    <a:pt x="239001" y="93935"/>
                    <a:pt x="248453" y="89880"/>
                    <a:pt x="257905" y="86501"/>
                  </a:cubicBezTo>
                  <a:cubicBezTo>
                    <a:pt x="272083" y="81095"/>
                    <a:pt x="281535" y="68255"/>
                    <a:pt x="281535" y="53388"/>
                  </a:cubicBezTo>
                  <a:lnTo>
                    <a:pt x="281535" y="31087"/>
                  </a:lnTo>
                  <a:cubicBezTo>
                    <a:pt x="281535" y="14192"/>
                    <a:pt x="295038" y="0"/>
                    <a:pt x="311917"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480">
              <a:extLst>
                <a:ext uri="{FF2B5EF4-FFF2-40B4-BE49-F238E27FC236}">
                  <a16:creationId xmlns:a16="http://schemas.microsoft.com/office/drawing/2014/main" id="{477A4A1F-EFA5-4889-BAD4-22F7171E86A0}"/>
                </a:ext>
              </a:extLst>
            </p:cNvPr>
            <p:cNvSpPr>
              <a:spLocks/>
            </p:cNvSpPr>
            <p:nvPr/>
          </p:nvSpPr>
          <p:spPr bwMode="auto">
            <a:xfrm>
              <a:off x="2662238" y="6208713"/>
              <a:ext cx="144463" cy="123825"/>
            </a:xfrm>
            <a:custGeom>
              <a:avLst/>
              <a:gdLst>
                <a:gd name="T0" fmla="*/ 214 w 214"/>
                <a:gd name="T1" fmla="*/ 183 h 183"/>
                <a:gd name="T2" fmla="*/ 168 w 214"/>
                <a:gd name="T3" fmla="*/ 183 h 183"/>
                <a:gd name="T4" fmla="*/ 112 w 214"/>
                <a:gd name="T5" fmla="*/ 128 h 183"/>
                <a:gd name="T6" fmla="*/ 112 w 214"/>
                <a:gd name="T7" fmla="*/ 55 h 183"/>
                <a:gd name="T8" fmla="*/ 73 w 214"/>
                <a:gd name="T9" fmla="*/ 16 h 183"/>
                <a:gd name="T10" fmla="*/ 0 w 214"/>
                <a:gd name="T11" fmla="*/ 16 h 183"/>
                <a:gd name="T12" fmla="*/ 0 w 214"/>
                <a:gd name="T13" fmla="*/ 0 h 183"/>
                <a:gd name="T14" fmla="*/ 73 w 214"/>
                <a:gd name="T15" fmla="*/ 0 h 183"/>
                <a:gd name="T16" fmla="*/ 129 w 214"/>
                <a:gd name="T17" fmla="*/ 55 h 183"/>
                <a:gd name="T18" fmla="*/ 129 w 214"/>
                <a:gd name="T19" fmla="*/ 128 h 183"/>
                <a:gd name="T20" fmla="*/ 168 w 214"/>
                <a:gd name="T21" fmla="*/ 167 h 183"/>
                <a:gd name="T22" fmla="*/ 214 w 214"/>
                <a:gd name="T23" fmla="*/ 167 h 183"/>
                <a:gd name="T24" fmla="*/ 214 w 214"/>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83">
                  <a:moveTo>
                    <a:pt x="214" y="183"/>
                  </a:moveTo>
                  <a:lnTo>
                    <a:pt x="168" y="183"/>
                  </a:lnTo>
                  <a:cubicBezTo>
                    <a:pt x="137" y="183"/>
                    <a:pt x="112" y="158"/>
                    <a:pt x="112" y="128"/>
                  </a:cubicBezTo>
                  <a:lnTo>
                    <a:pt x="112" y="55"/>
                  </a:lnTo>
                  <a:cubicBezTo>
                    <a:pt x="112" y="34"/>
                    <a:pt x="95" y="16"/>
                    <a:pt x="73" y="16"/>
                  </a:cubicBezTo>
                  <a:lnTo>
                    <a:pt x="0" y="16"/>
                  </a:lnTo>
                  <a:lnTo>
                    <a:pt x="0" y="0"/>
                  </a:lnTo>
                  <a:lnTo>
                    <a:pt x="73" y="0"/>
                  </a:lnTo>
                  <a:cubicBezTo>
                    <a:pt x="104" y="0"/>
                    <a:pt x="129" y="25"/>
                    <a:pt x="129" y="55"/>
                  </a:cubicBezTo>
                  <a:lnTo>
                    <a:pt x="129" y="128"/>
                  </a:lnTo>
                  <a:cubicBezTo>
                    <a:pt x="129" y="149"/>
                    <a:pt x="146" y="167"/>
                    <a:pt x="168" y="167"/>
                  </a:cubicBezTo>
                  <a:lnTo>
                    <a:pt x="214" y="167"/>
                  </a:lnTo>
                  <a:lnTo>
                    <a:pt x="214"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481">
              <a:extLst>
                <a:ext uri="{FF2B5EF4-FFF2-40B4-BE49-F238E27FC236}">
                  <a16:creationId xmlns:a16="http://schemas.microsoft.com/office/drawing/2014/main" id="{2D7D05D6-8694-4549-923A-C6591E9557FD}"/>
                </a:ext>
              </a:extLst>
            </p:cNvPr>
            <p:cNvSpPr>
              <a:spLocks/>
            </p:cNvSpPr>
            <p:nvPr/>
          </p:nvSpPr>
          <p:spPr bwMode="auto">
            <a:xfrm>
              <a:off x="2778126" y="6208713"/>
              <a:ext cx="155575" cy="190500"/>
            </a:xfrm>
            <a:custGeom>
              <a:avLst/>
              <a:gdLst>
                <a:gd name="T0" fmla="*/ 232 w 232"/>
                <a:gd name="T1" fmla="*/ 282 h 282"/>
                <a:gd name="T2" fmla="*/ 215 w 232"/>
                <a:gd name="T3" fmla="*/ 282 h 282"/>
                <a:gd name="T4" fmla="*/ 215 w 232"/>
                <a:gd name="T5" fmla="*/ 93 h 282"/>
                <a:gd name="T6" fmla="*/ 139 w 232"/>
                <a:gd name="T7" fmla="*/ 16 h 282"/>
                <a:gd name="T8" fmla="*/ 0 w 232"/>
                <a:gd name="T9" fmla="*/ 16 h 282"/>
                <a:gd name="T10" fmla="*/ 0 w 232"/>
                <a:gd name="T11" fmla="*/ 0 h 282"/>
                <a:gd name="T12" fmla="*/ 139 w 232"/>
                <a:gd name="T13" fmla="*/ 0 h 282"/>
                <a:gd name="T14" fmla="*/ 232 w 232"/>
                <a:gd name="T15" fmla="*/ 93 h 282"/>
                <a:gd name="T16" fmla="*/ 232 w 232"/>
                <a:gd name="T1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82">
                  <a:moveTo>
                    <a:pt x="232" y="282"/>
                  </a:moveTo>
                  <a:lnTo>
                    <a:pt x="215" y="282"/>
                  </a:lnTo>
                  <a:lnTo>
                    <a:pt x="215" y="93"/>
                  </a:lnTo>
                  <a:cubicBezTo>
                    <a:pt x="215" y="51"/>
                    <a:pt x="181" y="16"/>
                    <a:pt x="139" y="16"/>
                  </a:cubicBezTo>
                  <a:lnTo>
                    <a:pt x="0" y="16"/>
                  </a:lnTo>
                  <a:lnTo>
                    <a:pt x="0" y="0"/>
                  </a:lnTo>
                  <a:lnTo>
                    <a:pt x="139" y="0"/>
                  </a:lnTo>
                  <a:cubicBezTo>
                    <a:pt x="190" y="0"/>
                    <a:pt x="232" y="41"/>
                    <a:pt x="232" y="93"/>
                  </a:cubicBezTo>
                  <a:lnTo>
                    <a:pt x="232" y="2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482">
              <a:extLst>
                <a:ext uri="{FF2B5EF4-FFF2-40B4-BE49-F238E27FC236}">
                  <a16:creationId xmlns:a16="http://schemas.microsoft.com/office/drawing/2014/main" id="{E2F18801-7A36-4DC2-9A56-0AA91428221A}"/>
                </a:ext>
              </a:extLst>
            </p:cNvPr>
            <p:cNvSpPr>
              <a:spLocks noEditPoints="1"/>
            </p:cNvSpPr>
            <p:nvPr/>
          </p:nvSpPr>
          <p:spPr bwMode="auto">
            <a:xfrm>
              <a:off x="2890838" y="6394451"/>
              <a:ext cx="76200" cy="76200"/>
            </a:xfrm>
            <a:custGeom>
              <a:avLst/>
              <a:gdLst>
                <a:gd name="T0" fmla="*/ 57 w 113"/>
                <a:gd name="T1" fmla="*/ 17 h 114"/>
                <a:gd name="T2" fmla="*/ 16 w 113"/>
                <a:gd name="T3" fmla="*/ 57 h 114"/>
                <a:gd name="T4" fmla="*/ 57 w 113"/>
                <a:gd name="T5" fmla="*/ 97 h 114"/>
                <a:gd name="T6" fmla="*/ 97 w 113"/>
                <a:gd name="T7" fmla="*/ 57 h 114"/>
                <a:gd name="T8" fmla="*/ 57 w 113"/>
                <a:gd name="T9" fmla="*/ 17 h 114"/>
                <a:gd name="T10" fmla="*/ 57 w 113"/>
                <a:gd name="T11" fmla="*/ 114 h 114"/>
                <a:gd name="T12" fmla="*/ 0 w 113"/>
                <a:gd name="T13" fmla="*/ 57 h 114"/>
                <a:gd name="T14" fmla="*/ 57 w 113"/>
                <a:gd name="T15" fmla="*/ 0 h 114"/>
                <a:gd name="T16" fmla="*/ 113 w 113"/>
                <a:gd name="T17" fmla="*/ 57 h 114"/>
                <a:gd name="T18" fmla="*/ 57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17"/>
                  </a:moveTo>
                  <a:cubicBezTo>
                    <a:pt x="34" y="17"/>
                    <a:pt x="16" y="35"/>
                    <a:pt x="16" y="57"/>
                  </a:cubicBezTo>
                  <a:cubicBezTo>
                    <a:pt x="16" y="79"/>
                    <a:pt x="34" y="97"/>
                    <a:pt x="57" y="97"/>
                  </a:cubicBezTo>
                  <a:cubicBezTo>
                    <a:pt x="79" y="97"/>
                    <a:pt x="97" y="79"/>
                    <a:pt x="97" y="57"/>
                  </a:cubicBezTo>
                  <a:cubicBezTo>
                    <a:pt x="97" y="35"/>
                    <a:pt x="79" y="17"/>
                    <a:pt x="57" y="17"/>
                  </a:cubicBezTo>
                  <a:close/>
                  <a:moveTo>
                    <a:pt x="57" y="114"/>
                  </a:moveTo>
                  <a:cubicBezTo>
                    <a:pt x="25" y="114"/>
                    <a:pt x="0" y="88"/>
                    <a:pt x="0" y="57"/>
                  </a:cubicBezTo>
                  <a:cubicBezTo>
                    <a:pt x="0" y="26"/>
                    <a:pt x="25" y="0"/>
                    <a:pt x="57" y="0"/>
                  </a:cubicBezTo>
                  <a:cubicBezTo>
                    <a:pt x="88" y="0"/>
                    <a:pt x="113" y="26"/>
                    <a:pt x="113" y="57"/>
                  </a:cubicBezTo>
                  <a:cubicBezTo>
                    <a:pt x="113" y="88"/>
                    <a:pt x="88" y="114"/>
                    <a:pt x="57"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483">
              <a:extLst>
                <a:ext uri="{FF2B5EF4-FFF2-40B4-BE49-F238E27FC236}">
                  <a16:creationId xmlns:a16="http://schemas.microsoft.com/office/drawing/2014/main" id="{65E7562B-210E-4CF9-9B87-0A388628619A}"/>
                </a:ext>
              </a:extLst>
            </p:cNvPr>
            <p:cNvSpPr>
              <a:spLocks noEditPoints="1"/>
            </p:cNvSpPr>
            <p:nvPr/>
          </p:nvSpPr>
          <p:spPr bwMode="auto">
            <a:xfrm>
              <a:off x="2801938" y="6289676"/>
              <a:ext cx="76200" cy="76200"/>
            </a:xfrm>
            <a:custGeom>
              <a:avLst/>
              <a:gdLst>
                <a:gd name="T0" fmla="*/ 56 w 113"/>
                <a:gd name="T1" fmla="*/ 17 h 114"/>
                <a:gd name="T2" fmla="*/ 16 w 113"/>
                <a:gd name="T3" fmla="*/ 57 h 114"/>
                <a:gd name="T4" fmla="*/ 56 w 113"/>
                <a:gd name="T5" fmla="*/ 97 h 114"/>
                <a:gd name="T6" fmla="*/ 97 w 113"/>
                <a:gd name="T7" fmla="*/ 57 h 114"/>
                <a:gd name="T8" fmla="*/ 56 w 113"/>
                <a:gd name="T9" fmla="*/ 17 h 114"/>
                <a:gd name="T10" fmla="*/ 56 w 113"/>
                <a:gd name="T11" fmla="*/ 114 h 114"/>
                <a:gd name="T12" fmla="*/ 0 w 113"/>
                <a:gd name="T13" fmla="*/ 57 h 114"/>
                <a:gd name="T14" fmla="*/ 56 w 113"/>
                <a:gd name="T15" fmla="*/ 0 h 114"/>
                <a:gd name="T16" fmla="*/ 113 w 113"/>
                <a:gd name="T17" fmla="*/ 57 h 114"/>
                <a:gd name="T18" fmla="*/ 56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6" y="17"/>
                  </a:moveTo>
                  <a:cubicBezTo>
                    <a:pt x="34" y="17"/>
                    <a:pt x="16" y="35"/>
                    <a:pt x="16" y="57"/>
                  </a:cubicBezTo>
                  <a:cubicBezTo>
                    <a:pt x="16" y="79"/>
                    <a:pt x="34" y="97"/>
                    <a:pt x="56" y="97"/>
                  </a:cubicBezTo>
                  <a:cubicBezTo>
                    <a:pt x="79" y="97"/>
                    <a:pt x="97" y="79"/>
                    <a:pt x="97" y="57"/>
                  </a:cubicBezTo>
                  <a:cubicBezTo>
                    <a:pt x="97" y="35"/>
                    <a:pt x="79" y="17"/>
                    <a:pt x="56" y="17"/>
                  </a:cubicBezTo>
                  <a:close/>
                  <a:moveTo>
                    <a:pt x="56" y="114"/>
                  </a:moveTo>
                  <a:cubicBezTo>
                    <a:pt x="25" y="114"/>
                    <a:pt x="0" y="88"/>
                    <a:pt x="0" y="57"/>
                  </a:cubicBezTo>
                  <a:cubicBezTo>
                    <a:pt x="0" y="26"/>
                    <a:pt x="25" y="0"/>
                    <a:pt x="56" y="0"/>
                  </a:cubicBezTo>
                  <a:cubicBezTo>
                    <a:pt x="88" y="0"/>
                    <a:pt x="113" y="26"/>
                    <a:pt x="113" y="57"/>
                  </a:cubicBezTo>
                  <a:cubicBezTo>
                    <a:pt x="113" y="88"/>
                    <a:pt x="88" y="114"/>
                    <a:pt x="56"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484">
              <a:extLst>
                <a:ext uri="{FF2B5EF4-FFF2-40B4-BE49-F238E27FC236}">
                  <a16:creationId xmlns:a16="http://schemas.microsoft.com/office/drawing/2014/main" id="{1CE00257-383E-4853-989F-719E91901BB6}"/>
                </a:ext>
              </a:extLst>
            </p:cNvPr>
            <p:cNvSpPr>
              <a:spLocks/>
            </p:cNvSpPr>
            <p:nvPr/>
          </p:nvSpPr>
          <p:spPr bwMode="auto">
            <a:xfrm>
              <a:off x="2662238" y="5873751"/>
              <a:ext cx="144463" cy="123825"/>
            </a:xfrm>
            <a:custGeom>
              <a:avLst/>
              <a:gdLst>
                <a:gd name="T0" fmla="*/ 73 w 214"/>
                <a:gd name="T1" fmla="*/ 184 h 184"/>
                <a:gd name="T2" fmla="*/ 0 w 214"/>
                <a:gd name="T3" fmla="*/ 184 h 184"/>
                <a:gd name="T4" fmla="*/ 0 w 214"/>
                <a:gd name="T5" fmla="*/ 167 h 184"/>
                <a:gd name="T6" fmla="*/ 73 w 214"/>
                <a:gd name="T7" fmla="*/ 167 h 184"/>
                <a:gd name="T8" fmla="*/ 112 w 214"/>
                <a:gd name="T9" fmla="*/ 128 h 184"/>
                <a:gd name="T10" fmla="*/ 112 w 214"/>
                <a:gd name="T11" fmla="*/ 55 h 184"/>
                <a:gd name="T12" fmla="*/ 168 w 214"/>
                <a:gd name="T13" fmla="*/ 0 h 184"/>
                <a:gd name="T14" fmla="*/ 214 w 214"/>
                <a:gd name="T15" fmla="*/ 0 h 184"/>
                <a:gd name="T16" fmla="*/ 214 w 214"/>
                <a:gd name="T17" fmla="*/ 16 h 184"/>
                <a:gd name="T18" fmla="*/ 168 w 214"/>
                <a:gd name="T19" fmla="*/ 16 h 184"/>
                <a:gd name="T20" fmla="*/ 129 w 214"/>
                <a:gd name="T21" fmla="*/ 55 h 184"/>
                <a:gd name="T22" fmla="*/ 129 w 214"/>
                <a:gd name="T23" fmla="*/ 128 h 184"/>
                <a:gd name="T24" fmla="*/ 73 w 214"/>
                <a:gd name="T25"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184">
                  <a:moveTo>
                    <a:pt x="73" y="184"/>
                  </a:moveTo>
                  <a:lnTo>
                    <a:pt x="0" y="184"/>
                  </a:lnTo>
                  <a:lnTo>
                    <a:pt x="0" y="167"/>
                  </a:lnTo>
                  <a:lnTo>
                    <a:pt x="73" y="167"/>
                  </a:lnTo>
                  <a:cubicBezTo>
                    <a:pt x="95" y="167"/>
                    <a:pt x="112" y="149"/>
                    <a:pt x="112" y="128"/>
                  </a:cubicBezTo>
                  <a:lnTo>
                    <a:pt x="112" y="55"/>
                  </a:lnTo>
                  <a:cubicBezTo>
                    <a:pt x="112" y="25"/>
                    <a:pt x="137" y="0"/>
                    <a:pt x="168" y="0"/>
                  </a:cubicBezTo>
                  <a:lnTo>
                    <a:pt x="214" y="0"/>
                  </a:lnTo>
                  <a:lnTo>
                    <a:pt x="214" y="16"/>
                  </a:lnTo>
                  <a:lnTo>
                    <a:pt x="168" y="16"/>
                  </a:lnTo>
                  <a:cubicBezTo>
                    <a:pt x="146" y="16"/>
                    <a:pt x="129" y="34"/>
                    <a:pt x="129" y="55"/>
                  </a:cubicBezTo>
                  <a:lnTo>
                    <a:pt x="129" y="128"/>
                  </a:lnTo>
                  <a:cubicBezTo>
                    <a:pt x="129" y="159"/>
                    <a:pt x="104" y="184"/>
                    <a:pt x="73"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485">
              <a:extLst>
                <a:ext uri="{FF2B5EF4-FFF2-40B4-BE49-F238E27FC236}">
                  <a16:creationId xmlns:a16="http://schemas.microsoft.com/office/drawing/2014/main" id="{DB29B82E-E69F-400D-B96E-D67BCCC56E9A}"/>
                </a:ext>
              </a:extLst>
            </p:cNvPr>
            <p:cNvSpPr>
              <a:spLocks noEditPoints="1"/>
            </p:cNvSpPr>
            <p:nvPr/>
          </p:nvSpPr>
          <p:spPr bwMode="auto">
            <a:xfrm>
              <a:off x="2801938" y="5840413"/>
              <a:ext cx="76200" cy="76200"/>
            </a:xfrm>
            <a:custGeom>
              <a:avLst/>
              <a:gdLst>
                <a:gd name="T0" fmla="*/ 56 w 113"/>
                <a:gd name="T1" fmla="*/ 17 h 114"/>
                <a:gd name="T2" fmla="*/ 16 w 113"/>
                <a:gd name="T3" fmla="*/ 57 h 114"/>
                <a:gd name="T4" fmla="*/ 56 w 113"/>
                <a:gd name="T5" fmla="*/ 97 h 114"/>
                <a:gd name="T6" fmla="*/ 97 w 113"/>
                <a:gd name="T7" fmla="*/ 57 h 114"/>
                <a:gd name="T8" fmla="*/ 56 w 113"/>
                <a:gd name="T9" fmla="*/ 17 h 114"/>
                <a:gd name="T10" fmla="*/ 56 w 113"/>
                <a:gd name="T11" fmla="*/ 114 h 114"/>
                <a:gd name="T12" fmla="*/ 0 w 113"/>
                <a:gd name="T13" fmla="*/ 57 h 114"/>
                <a:gd name="T14" fmla="*/ 56 w 113"/>
                <a:gd name="T15" fmla="*/ 0 h 114"/>
                <a:gd name="T16" fmla="*/ 113 w 113"/>
                <a:gd name="T17" fmla="*/ 57 h 114"/>
                <a:gd name="T18" fmla="*/ 56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6" y="17"/>
                  </a:moveTo>
                  <a:cubicBezTo>
                    <a:pt x="34" y="17"/>
                    <a:pt x="16" y="35"/>
                    <a:pt x="16" y="57"/>
                  </a:cubicBezTo>
                  <a:cubicBezTo>
                    <a:pt x="16" y="79"/>
                    <a:pt x="34" y="97"/>
                    <a:pt x="56" y="97"/>
                  </a:cubicBezTo>
                  <a:cubicBezTo>
                    <a:pt x="79" y="97"/>
                    <a:pt x="97" y="79"/>
                    <a:pt x="97" y="57"/>
                  </a:cubicBezTo>
                  <a:cubicBezTo>
                    <a:pt x="97" y="35"/>
                    <a:pt x="79" y="17"/>
                    <a:pt x="56" y="17"/>
                  </a:cubicBezTo>
                  <a:close/>
                  <a:moveTo>
                    <a:pt x="56" y="114"/>
                  </a:moveTo>
                  <a:cubicBezTo>
                    <a:pt x="25" y="114"/>
                    <a:pt x="0" y="88"/>
                    <a:pt x="0" y="57"/>
                  </a:cubicBezTo>
                  <a:cubicBezTo>
                    <a:pt x="0" y="26"/>
                    <a:pt x="25" y="0"/>
                    <a:pt x="56" y="0"/>
                  </a:cubicBezTo>
                  <a:cubicBezTo>
                    <a:pt x="88" y="0"/>
                    <a:pt x="113" y="26"/>
                    <a:pt x="113" y="57"/>
                  </a:cubicBezTo>
                  <a:cubicBezTo>
                    <a:pt x="113" y="88"/>
                    <a:pt x="88" y="114"/>
                    <a:pt x="56"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486">
              <a:extLst>
                <a:ext uri="{FF2B5EF4-FFF2-40B4-BE49-F238E27FC236}">
                  <a16:creationId xmlns:a16="http://schemas.microsoft.com/office/drawing/2014/main" id="{959C38FE-F0B9-4BC5-B754-1FBCA6EF0FCE}"/>
                </a:ext>
              </a:extLst>
            </p:cNvPr>
            <p:cNvSpPr>
              <a:spLocks noChangeArrowheads="1"/>
            </p:cNvSpPr>
            <p:nvPr/>
          </p:nvSpPr>
          <p:spPr bwMode="auto">
            <a:xfrm>
              <a:off x="2732088" y="6097588"/>
              <a:ext cx="196850"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487">
              <a:extLst>
                <a:ext uri="{FF2B5EF4-FFF2-40B4-BE49-F238E27FC236}">
                  <a16:creationId xmlns:a16="http://schemas.microsoft.com/office/drawing/2014/main" id="{8AE3FE3F-1D82-428F-A3B2-891E551BE6BD}"/>
                </a:ext>
              </a:extLst>
            </p:cNvPr>
            <p:cNvSpPr>
              <a:spLocks noChangeArrowheads="1"/>
            </p:cNvSpPr>
            <p:nvPr/>
          </p:nvSpPr>
          <p:spPr bwMode="auto">
            <a:xfrm>
              <a:off x="2578101" y="6097588"/>
              <a:ext cx="123825"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488">
              <a:extLst>
                <a:ext uri="{FF2B5EF4-FFF2-40B4-BE49-F238E27FC236}">
                  <a16:creationId xmlns:a16="http://schemas.microsoft.com/office/drawing/2014/main" id="{878E4C92-3D39-43F8-AB22-C63422FCAF7F}"/>
                </a:ext>
              </a:extLst>
            </p:cNvPr>
            <p:cNvSpPr>
              <a:spLocks noEditPoints="1"/>
            </p:cNvSpPr>
            <p:nvPr/>
          </p:nvSpPr>
          <p:spPr bwMode="auto">
            <a:xfrm>
              <a:off x="2925763" y="6064251"/>
              <a:ext cx="76200" cy="76200"/>
            </a:xfrm>
            <a:custGeom>
              <a:avLst/>
              <a:gdLst>
                <a:gd name="T0" fmla="*/ 57 w 114"/>
                <a:gd name="T1" fmla="*/ 16 h 113"/>
                <a:gd name="T2" fmla="*/ 17 w 114"/>
                <a:gd name="T3" fmla="*/ 57 h 113"/>
                <a:gd name="T4" fmla="*/ 57 w 114"/>
                <a:gd name="T5" fmla="*/ 97 h 113"/>
                <a:gd name="T6" fmla="*/ 97 w 114"/>
                <a:gd name="T7" fmla="*/ 57 h 113"/>
                <a:gd name="T8" fmla="*/ 57 w 114"/>
                <a:gd name="T9" fmla="*/ 16 h 113"/>
                <a:gd name="T10" fmla="*/ 57 w 114"/>
                <a:gd name="T11" fmla="*/ 113 h 113"/>
                <a:gd name="T12" fmla="*/ 0 w 114"/>
                <a:gd name="T13" fmla="*/ 57 h 113"/>
                <a:gd name="T14" fmla="*/ 57 w 114"/>
                <a:gd name="T15" fmla="*/ 0 h 113"/>
                <a:gd name="T16" fmla="*/ 114 w 114"/>
                <a:gd name="T17" fmla="*/ 57 h 113"/>
                <a:gd name="T18" fmla="*/ 57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57" y="16"/>
                  </a:moveTo>
                  <a:cubicBezTo>
                    <a:pt x="35" y="16"/>
                    <a:pt x="17" y="34"/>
                    <a:pt x="17" y="57"/>
                  </a:cubicBezTo>
                  <a:cubicBezTo>
                    <a:pt x="17" y="79"/>
                    <a:pt x="35" y="97"/>
                    <a:pt x="57" y="97"/>
                  </a:cubicBezTo>
                  <a:cubicBezTo>
                    <a:pt x="79" y="97"/>
                    <a:pt x="97" y="79"/>
                    <a:pt x="97" y="57"/>
                  </a:cubicBezTo>
                  <a:cubicBezTo>
                    <a:pt x="97" y="34"/>
                    <a:pt x="79" y="16"/>
                    <a:pt x="57" y="16"/>
                  </a:cubicBezTo>
                  <a:close/>
                  <a:moveTo>
                    <a:pt x="57" y="113"/>
                  </a:moveTo>
                  <a:cubicBezTo>
                    <a:pt x="25" y="113"/>
                    <a:pt x="0" y="88"/>
                    <a:pt x="0" y="57"/>
                  </a:cubicBezTo>
                  <a:cubicBezTo>
                    <a:pt x="0" y="25"/>
                    <a:pt x="25" y="0"/>
                    <a:pt x="57" y="0"/>
                  </a:cubicBezTo>
                  <a:cubicBezTo>
                    <a:pt x="88" y="0"/>
                    <a:pt x="114" y="25"/>
                    <a:pt x="114" y="57"/>
                  </a:cubicBezTo>
                  <a:cubicBezTo>
                    <a:pt x="114" y="88"/>
                    <a:pt x="88" y="113"/>
                    <a:pt x="57" y="1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489">
              <a:extLst>
                <a:ext uri="{FF2B5EF4-FFF2-40B4-BE49-F238E27FC236}">
                  <a16:creationId xmlns:a16="http://schemas.microsoft.com/office/drawing/2014/main" id="{F18238B8-5AC0-4178-B251-E665004A1607}"/>
                </a:ext>
              </a:extLst>
            </p:cNvPr>
            <p:cNvSpPr>
              <a:spLocks/>
            </p:cNvSpPr>
            <p:nvPr/>
          </p:nvSpPr>
          <p:spPr bwMode="auto">
            <a:xfrm>
              <a:off x="2778126" y="5805488"/>
              <a:ext cx="155575" cy="192088"/>
            </a:xfrm>
            <a:custGeom>
              <a:avLst/>
              <a:gdLst>
                <a:gd name="T0" fmla="*/ 139 w 232"/>
                <a:gd name="T1" fmla="*/ 283 h 283"/>
                <a:gd name="T2" fmla="*/ 0 w 232"/>
                <a:gd name="T3" fmla="*/ 283 h 283"/>
                <a:gd name="T4" fmla="*/ 0 w 232"/>
                <a:gd name="T5" fmla="*/ 266 h 283"/>
                <a:gd name="T6" fmla="*/ 139 w 232"/>
                <a:gd name="T7" fmla="*/ 266 h 283"/>
                <a:gd name="T8" fmla="*/ 215 w 232"/>
                <a:gd name="T9" fmla="*/ 189 h 283"/>
                <a:gd name="T10" fmla="*/ 215 w 232"/>
                <a:gd name="T11" fmla="*/ 0 h 283"/>
                <a:gd name="T12" fmla="*/ 232 w 232"/>
                <a:gd name="T13" fmla="*/ 0 h 283"/>
                <a:gd name="T14" fmla="*/ 232 w 232"/>
                <a:gd name="T15" fmla="*/ 189 h 283"/>
                <a:gd name="T16" fmla="*/ 139 w 232"/>
                <a:gd name="T17"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283">
                  <a:moveTo>
                    <a:pt x="139" y="283"/>
                  </a:moveTo>
                  <a:lnTo>
                    <a:pt x="0" y="283"/>
                  </a:lnTo>
                  <a:lnTo>
                    <a:pt x="0" y="266"/>
                  </a:lnTo>
                  <a:lnTo>
                    <a:pt x="139" y="266"/>
                  </a:lnTo>
                  <a:cubicBezTo>
                    <a:pt x="181" y="266"/>
                    <a:pt x="215" y="232"/>
                    <a:pt x="215" y="189"/>
                  </a:cubicBezTo>
                  <a:lnTo>
                    <a:pt x="215" y="0"/>
                  </a:lnTo>
                  <a:lnTo>
                    <a:pt x="232" y="0"/>
                  </a:lnTo>
                  <a:lnTo>
                    <a:pt x="232" y="189"/>
                  </a:lnTo>
                  <a:cubicBezTo>
                    <a:pt x="232" y="241"/>
                    <a:pt x="190" y="283"/>
                    <a:pt x="139" y="2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490">
              <a:extLst>
                <a:ext uri="{FF2B5EF4-FFF2-40B4-BE49-F238E27FC236}">
                  <a16:creationId xmlns:a16="http://schemas.microsoft.com/office/drawing/2014/main" id="{DABB0150-7DBB-49EE-B785-38573598B44C}"/>
                </a:ext>
              </a:extLst>
            </p:cNvPr>
            <p:cNvSpPr>
              <a:spLocks/>
            </p:cNvSpPr>
            <p:nvPr/>
          </p:nvSpPr>
          <p:spPr bwMode="auto">
            <a:xfrm>
              <a:off x="2851151" y="5937251"/>
              <a:ext cx="187325" cy="114300"/>
            </a:xfrm>
            <a:custGeom>
              <a:avLst/>
              <a:gdLst>
                <a:gd name="T0" fmla="*/ 41 w 278"/>
                <a:gd name="T1" fmla="*/ 170 h 170"/>
                <a:gd name="T2" fmla="*/ 0 w 278"/>
                <a:gd name="T3" fmla="*/ 170 h 170"/>
                <a:gd name="T4" fmla="*/ 0 w 278"/>
                <a:gd name="T5" fmla="*/ 153 h 170"/>
                <a:gd name="T6" fmla="*/ 41 w 278"/>
                <a:gd name="T7" fmla="*/ 153 h 170"/>
                <a:gd name="T8" fmla="*/ 105 w 278"/>
                <a:gd name="T9" fmla="*/ 131 h 170"/>
                <a:gd name="T10" fmla="*/ 267 w 278"/>
                <a:gd name="T11" fmla="*/ 0 h 170"/>
                <a:gd name="T12" fmla="*/ 278 w 278"/>
                <a:gd name="T13" fmla="*/ 13 h 170"/>
                <a:gd name="T14" fmla="*/ 115 w 278"/>
                <a:gd name="T15" fmla="*/ 144 h 170"/>
                <a:gd name="T16" fmla="*/ 41 w 278"/>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170">
                  <a:moveTo>
                    <a:pt x="41" y="170"/>
                  </a:moveTo>
                  <a:lnTo>
                    <a:pt x="0" y="170"/>
                  </a:lnTo>
                  <a:lnTo>
                    <a:pt x="0" y="153"/>
                  </a:lnTo>
                  <a:lnTo>
                    <a:pt x="41" y="153"/>
                  </a:lnTo>
                  <a:cubicBezTo>
                    <a:pt x="64" y="153"/>
                    <a:pt x="87" y="145"/>
                    <a:pt x="105" y="131"/>
                  </a:cubicBezTo>
                  <a:lnTo>
                    <a:pt x="267" y="0"/>
                  </a:lnTo>
                  <a:lnTo>
                    <a:pt x="278" y="13"/>
                  </a:lnTo>
                  <a:lnTo>
                    <a:pt x="115" y="144"/>
                  </a:lnTo>
                  <a:cubicBezTo>
                    <a:pt x="94" y="160"/>
                    <a:pt x="68" y="170"/>
                    <a:pt x="41" y="17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Rectangle 491">
              <a:extLst>
                <a:ext uri="{FF2B5EF4-FFF2-40B4-BE49-F238E27FC236}">
                  <a16:creationId xmlns:a16="http://schemas.microsoft.com/office/drawing/2014/main" id="{4CF3986D-8B36-46AD-938F-8C893AAD8407}"/>
                </a:ext>
              </a:extLst>
            </p:cNvPr>
            <p:cNvSpPr>
              <a:spLocks noChangeArrowheads="1"/>
            </p:cNvSpPr>
            <p:nvPr/>
          </p:nvSpPr>
          <p:spPr bwMode="auto">
            <a:xfrm>
              <a:off x="2636838" y="6040438"/>
              <a:ext cx="166688"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Rectangle 492">
              <a:extLst>
                <a:ext uri="{FF2B5EF4-FFF2-40B4-BE49-F238E27FC236}">
                  <a16:creationId xmlns:a16="http://schemas.microsoft.com/office/drawing/2014/main" id="{CCB91374-250A-4A68-8DA6-596591B60934}"/>
                </a:ext>
              </a:extLst>
            </p:cNvPr>
            <p:cNvSpPr>
              <a:spLocks noChangeArrowheads="1"/>
            </p:cNvSpPr>
            <p:nvPr/>
          </p:nvSpPr>
          <p:spPr bwMode="auto">
            <a:xfrm>
              <a:off x="2592388" y="6040438"/>
              <a:ext cx="22225"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493">
              <a:extLst>
                <a:ext uri="{FF2B5EF4-FFF2-40B4-BE49-F238E27FC236}">
                  <a16:creationId xmlns:a16="http://schemas.microsoft.com/office/drawing/2014/main" id="{D4DE9EEC-CA74-420A-A7C9-8D5D0F9D6494}"/>
                </a:ext>
              </a:extLst>
            </p:cNvPr>
            <p:cNvSpPr>
              <a:spLocks noEditPoints="1"/>
            </p:cNvSpPr>
            <p:nvPr/>
          </p:nvSpPr>
          <p:spPr bwMode="auto">
            <a:xfrm>
              <a:off x="2890838" y="5734051"/>
              <a:ext cx="76200" cy="77788"/>
            </a:xfrm>
            <a:custGeom>
              <a:avLst/>
              <a:gdLst>
                <a:gd name="T0" fmla="*/ 57 w 113"/>
                <a:gd name="T1" fmla="*/ 17 h 114"/>
                <a:gd name="T2" fmla="*/ 16 w 113"/>
                <a:gd name="T3" fmla="*/ 57 h 114"/>
                <a:gd name="T4" fmla="*/ 57 w 113"/>
                <a:gd name="T5" fmla="*/ 97 h 114"/>
                <a:gd name="T6" fmla="*/ 97 w 113"/>
                <a:gd name="T7" fmla="*/ 57 h 114"/>
                <a:gd name="T8" fmla="*/ 57 w 113"/>
                <a:gd name="T9" fmla="*/ 17 h 114"/>
                <a:gd name="T10" fmla="*/ 57 w 113"/>
                <a:gd name="T11" fmla="*/ 114 h 114"/>
                <a:gd name="T12" fmla="*/ 0 w 113"/>
                <a:gd name="T13" fmla="*/ 57 h 114"/>
                <a:gd name="T14" fmla="*/ 57 w 113"/>
                <a:gd name="T15" fmla="*/ 0 h 114"/>
                <a:gd name="T16" fmla="*/ 113 w 113"/>
                <a:gd name="T17" fmla="*/ 57 h 114"/>
                <a:gd name="T18" fmla="*/ 57 w 113"/>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17"/>
                  </a:moveTo>
                  <a:cubicBezTo>
                    <a:pt x="34" y="17"/>
                    <a:pt x="16" y="35"/>
                    <a:pt x="16" y="57"/>
                  </a:cubicBezTo>
                  <a:cubicBezTo>
                    <a:pt x="16" y="79"/>
                    <a:pt x="34" y="97"/>
                    <a:pt x="57" y="97"/>
                  </a:cubicBezTo>
                  <a:cubicBezTo>
                    <a:pt x="79" y="97"/>
                    <a:pt x="97" y="79"/>
                    <a:pt x="97" y="57"/>
                  </a:cubicBezTo>
                  <a:cubicBezTo>
                    <a:pt x="97" y="35"/>
                    <a:pt x="79" y="17"/>
                    <a:pt x="57" y="17"/>
                  </a:cubicBezTo>
                  <a:close/>
                  <a:moveTo>
                    <a:pt x="57" y="114"/>
                  </a:moveTo>
                  <a:cubicBezTo>
                    <a:pt x="25" y="114"/>
                    <a:pt x="0" y="89"/>
                    <a:pt x="0" y="57"/>
                  </a:cubicBezTo>
                  <a:cubicBezTo>
                    <a:pt x="0" y="26"/>
                    <a:pt x="25" y="0"/>
                    <a:pt x="57" y="0"/>
                  </a:cubicBezTo>
                  <a:cubicBezTo>
                    <a:pt x="88" y="0"/>
                    <a:pt x="113" y="26"/>
                    <a:pt x="113" y="57"/>
                  </a:cubicBezTo>
                  <a:cubicBezTo>
                    <a:pt x="113" y="89"/>
                    <a:pt x="88" y="114"/>
                    <a:pt x="57" y="1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494">
              <a:extLst>
                <a:ext uri="{FF2B5EF4-FFF2-40B4-BE49-F238E27FC236}">
                  <a16:creationId xmlns:a16="http://schemas.microsoft.com/office/drawing/2014/main" id="{AEEDF79F-2BAA-473B-8FB2-C8DF01933C74}"/>
                </a:ext>
              </a:extLst>
            </p:cNvPr>
            <p:cNvSpPr>
              <a:spLocks noEditPoints="1"/>
            </p:cNvSpPr>
            <p:nvPr/>
          </p:nvSpPr>
          <p:spPr bwMode="auto">
            <a:xfrm>
              <a:off x="3021013" y="5884863"/>
              <a:ext cx="77788" cy="76200"/>
            </a:xfrm>
            <a:custGeom>
              <a:avLst/>
              <a:gdLst>
                <a:gd name="T0" fmla="*/ 57 w 114"/>
                <a:gd name="T1" fmla="*/ 16 h 113"/>
                <a:gd name="T2" fmla="*/ 17 w 114"/>
                <a:gd name="T3" fmla="*/ 57 h 113"/>
                <a:gd name="T4" fmla="*/ 57 w 114"/>
                <a:gd name="T5" fmla="*/ 97 h 113"/>
                <a:gd name="T6" fmla="*/ 97 w 114"/>
                <a:gd name="T7" fmla="*/ 57 h 113"/>
                <a:gd name="T8" fmla="*/ 57 w 114"/>
                <a:gd name="T9" fmla="*/ 16 h 113"/>
                <a:gd name="T10" fmla="*/ 57 w 114"/>
                <a:gd name="T11" fmla="*/ 113 h 113"/>
                <a:gd name="T12" fmla="*/ 0 w 114"/>
                <a:gd name="T13" fmla="*/ 57 h 113"/>
                <a:gd name="T14" fmla="*/ 57 w 114"/>
                <a:gd name="T15" fmla="*/ 0 h 113"/>
                <a:gd name="T16" fmla="*/ 114 w 114"/>
                <a:gd name="T17" fmla="*/ 57 h 113"/>
                <a:gd name="T18" fmla="*/ 57 w 114"/>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3">
                  <a:moveTo>
                    <a:pt x="57" y="16"/>
                  </a:moveTo>
                  <a:cubicBezTo>
                    <a:pt x="35" y="16"/>
                    <a:pt x="17" y="34"/>
                    <a:pt x="17" y="57"/>
                  </a:cubicBezTo>
                  <a:cubicBezTo>
                    <a:pt x="17" y="79"/>
                    <a:pt x="35" y="97"/>
                    <a:pt x="57" y="97"/>
                  </a:cubicBezTo>
                  <a:cubicBezTo>
                    <a:pt x="79" y="97"/>
                    <a:pt x="97" y="79"/>
                    <a:pt x="97" y="57"/>
                  </a:cubicBezTo>
                  <a:cubicBezTo>
                    <a:pt x="97" y="34"/>
                    <a:pt x="79" y="16"/>
                    <a:pt x="57" y="16"/>
                  </a:cubicBezTo>
                  <a:close/>
                  <a:moveTo>
                    <a:pt x="57" y="113"/>
                  </a:moveTo>
                  <a:cubicBezTo>
                    <a:pt x="26" y="113"/>
                    <a:pt x="0" y="88"/>
                    <a:pt x="0" y="57"/>
                  </a:cubicBezTo>
                  <a:cubicBezTo>
                    <a:pt x="0" y="25"/>
                    <a:pt x="26" y="0"/>
                    <a:pt x="57" y="0"/>
                  </a:cubicBezTo>
                  <a:cubicBezTo>
                    <a:pt x="88" y="0"/>
                    <a:pt x="114" y="25"/>
                    <a:pt x="114" y="57"/>
                  </a:cubicBezTo>
                  <a:cubicBezTo>
                    <a:pt x="114" y="88"/>
                    <a:pt x="88" y="113"/>
                    <a:pt x="57" y="11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495">
              <a:extLst>
                <a:ext uri="{FF2B5EF4-FFF2-40B4-BE49-F238E27FC236}">
                  <a16:creationId xmlns:a16="http://schemas.microsoft.com/office/drawing/2014/main" id="{4D939B09-6FB5-4CEC-BE50-79BCFF48E732}"/>
                </a:ext>
              </a:extLst>
            </p:cNvPr>
            <p:cNvSpPr>
              <a:spLocks/>
            </p:cNvSpPr>
            <p:nvPr/>
          </p:nvSpPr>
          <p:spPr bwMode="auto">
            <a:xfrm>
              <a:off x="2662238" y="6151563"/>
              <a:ext cx="376238" cy="114300"/>
            </a:xfrm>
            <a:custGeom>
              <a:avLst/>
              <a:gdLst>
                <a:gd name="T0" fmla="*/ 546 w 557"/>
                <a:gd name="T1" fmla="*/ 169 h 169"/>
                <a:gd name="T2" fmla="*/ 384 w 557"/>
                <a:gd name="T3" fmla="*/ 39 h 169"/>
                <a:gd name="T4" fmla="*/ 320 w 557"/>
                <a:gd name="T5" fmla="*/ 16 h 169"/>
                <a:gd name="T6" fmla="*/ 0 w 557"/>
                <a:gd name="T7" fmla="*/ 16 h 169"/>
                <a:gd name="T8" fmla="*/ 0 w 557"/>
                <a:gd name="T9" fmla="*/ 0 h 169"/>
                <a:gd name="T10" fmla="*/ 320 w 557"/>
                <a:gd name="T11" fmla="*/ 0 h 169"/>
                <a:gd name="T12" fmla="*/ 394 w 557"/>
                <a:gd name="T13" fmla="*/ 26 h 169"/>
                <a:gd name="T14" fmla="*/ 557 w 557"/>
                <a:gd name="T15" fmla="*/ 156 h 169"/>
                <a:gd name="T16" fmla="*/ 546 w 557"/>
                <a:gd name="T17"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169">
                  <a:moveTo>
                    <a:pt x="546" y="169"/>
                  </a:moveTo>
                  <a:lnTo>
                    <a:pt x="384" y="39"/>
                  </a:lnTo>
                  <a:cubicBezTo>
                    <a:pt x="366" y="24"/>
                    <a:pt x="343" y="16"/>
                    <a:pt x="320" y="16"/>
                  </a:cubicBezTo>
                  <a:lnTo>
                    <a:pt x="0" y="16"/>
                  </a:lnTo>
                  <a:lnTo>
                    <a:pt x="0" y="0"/>
                  </a:lnTo>
                  <a:lnTo>
                    <a:pt x="320" y="0"/>
                  </a:lnTo>
                  <a:cubicBezTo>
                    <a:pt x="347" y="0"/>
                    <a:pt x="373" y="9"/>
                    <a:pt x="394" y="26"/>
                  </a:cubicBezTo>
                  <a:lnTo>
                    <a:pt x="557" y="156"/>
                  </a:lnTo>
                  <a:lnTo>
                    <a:pt x="546" y="16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Rectangle 496">
              <a:extLst>
                <a:ext uri="{FF2B5EF4-FFF2-40B4-BE49-F238E27FC236}">
                  <a16:creationId xmlns:a16="http://schemas.microsoft.com/office/drawing/2014/main" id="{8444B2D8-EE0C-4D43-AA0E-122C9D4101E6}"/>
                </a:ext>
              </a:extLst>
            </p:cNvPr>
            <p:cNvSpPr>
              <a:spLocks noChangeArrowheads="1"/>
            </p:cNvSpPr>
            <p:nvPr/>
          </p:nvSpPr>
          <p:spPr bwMode="auto">
            <a:xfrm>
              <a:off x="2617788" y="6151563"/>
              <a:ext cx="22225"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497">
              <a:extLst>
                <a:ext uri="{FF2B5EF4-FFF2-40B4-BE49-F238E27FC236}">
                  <a16:creationId xmlns:a16="http://schemas.microsoft.com/office/drawing/2014/main" id="{ED9AB276-914F-4987-A1D0-5C7EDC63A684}"/>
                </a:ext>
              </a:extLst>
            </p:cNvPr>
            <p:cNvSpPr>
              <a:spLocks noEditPoints="1"/>
            </p:cNvSpPr>
            <p:nvPr/>
          </p:nvSpPr>
          <p:spPr bwMode="auto">
            <a:xfrm>
              <a:off x="3021013" y="6242051"/>
              <a:ext cx="77788" cy="76200"/>
            </a:xfrm>
            <a:custGeom>
              <a:avLst/>
              <a:gdLst>
                <a:gd name="T0" fmla="*/ 57 w 114"/>
                <a:gd name="T1" fmla="*/ 17 h 114"/>
                <a:gd name="T2" fmla="*/ 17 w 114"/>
                <a:gd name="T3" fmla="*/ 57 h 114"/>
                <a:gd name="T4" fmla="*/ 57 w 114"/>
                <a:gd name="T5" fmla="*/ 97 h 114"/>
                <a:gd name="T6" fmla="*/ 97 w 114"/>
                <a:gd name="T7" fmla="*/ 57 h 114"/>
                <a:gd name="T8" fmla="*/ 57 w 114"/>
                <a:gd name="T9" fmla="*/ 17 h 114"/>
                <a:gd name="T10" fmla="*/ 57 w 114"/>
                <a:gd name="T11" fmla="*/ 114 h 114"/>
                <a:gd name="T12" fmla="*/ 0 w 114"/>
                <a:gd name="T13" fmla="*/ 57 h 114"/>
                <a:gd name="T14" fmla="*/ 57 w 114"/>
                <a:gd name="T15" fmla="*/ 0 h 114"/>
                <a:gd name="T16" fmla="*/ 114 w 114"/>
                <a:gd name="T17" fmla="*/ 57 h 114"/>
                <a:gd name="T18" fmla="*/ 57 w 114"/>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57" y="17"/>
                  </a:moveTo>
                  <a:cubicBezTo>
                    <a:pt x="35" y="17"/>
                    <a:pt x="17" y="35"/>
                    <a:pt x="17" y="57"/>
                  </a:cubicBezTo>
                  <a:cubicBezTo>
                    <a:pt x="17" y="79"/>
                    <a:pt x="35" y="97"/>
                    <a:pt x="57" y="97"/>
                  </a:cubicBezTo>
                  <a:cubicBezTo>
                    <a:pt x="79" y="97"/>
                    <a:pt x="97" y="79"/>
                    <a:pt x="97" y="57"/>
                  </a:cubicBezTo>
                  <a:cubicBezTo>
                    <a:pt x="97" y="35"/>
                    <a:pt x="79" y="17"/>
                    <a:pt x="57" y="17"/>
                  </a:cubicBezTo>
                  <a:close/>
                  <a:moveTo>
                    <a:pt x="57" y="114"/>
                  </a:moveTo>
                  <a:cubicBezTo>
                    <a:pt x="26" y="114"/>
                    <a:pt x="0" y="88"/>
                    <a:pt x="0" y="57"/>
                  </a:cubicBezTo>
                  <a:cubicBezTo>
                    <a:pt x="0" y="26"/>
                    <a:pt x="26" y="0"/>
                    <a:pt x="57" y="0"/>
                  </a:cubicBezTo>
                  <a:cubicBezTo>
                    <a:pt x="88" y="0"/>
                    <a:pt x="114" y="26"/>
                    <a:pt x="114" y="57"/>
                  </a:cubicBezTo>
                  <a:cubicBezTo>
                    <a:pt x="114" y="88"/>
                    <a:pt x="88" y="114"/>
                    <a:pt x="57" y="1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1" name="Arrow" descr="{&quot;Key&quot;:&quot;POWER_USER_SHAPE_ICON&quot;,&quot;Value&quot;:&quot;POWER_USER_SHAPE_ICON_STYLE_1&quot;}">
            <a:extLst>
              <a:ext uri="{FF2B5EF4-FFF2-40B4-BE49-F238E27FC236}">
                <a16:creationId xmlns:a16="http://schemas.microsoft.com/office/drawing/2014/main" id="{0BC84FF7-A9E1-4067-97C5-0B781C295D41}"/>
              </a:ext>
            </a:extLst>
          </p:cNvPr>
          <p:cNvSpPr>
            <a:spLocks noChangeAspect="1"/>
          </p:cNvSpPr>
          <p:nvPr>
            <p:custDataLst>
              <p:tags r:id="rId4"/>
            </p:custDataLst>
          </p:nvPr>
        </p:nvSpPr>
        <p:spPr bwMode="auto">
          <a:xfrm>
            <a:off x="9480113" y="4892960"/>
            <a:ext cx="340532" cy="358118"/>
          </a:xfrm>
          <a:custGeom>
            <a:avLst/>
            <a:gdLst>
              <a:gd name="T0" fmla="*/ 377 w 644"/>
              <a:gd name="T1" fmla="*/ 37 h 676"/>
              <a:gd name="T2" fmla="*/ 268 w 644"/>
              <a:gd name="T3" fmla="*/ 37 h 676"/>
              <a:gd name="T4" fmla="*/ 30 w 644"/>
              <a:gd name="T5" fmla="*/ 340 h 676"/>
              <a:gd name="T6" fmla="*/ 58 w 644"/>
              <a:gd name="T7" fmla="*/ 409 h 676"/>
              <a:gd name="T8" fmla="*/ 189 w 644"/>
              <a:gd name="T9" fmla="*/ 409 h 676"/>
              <a:gd name="T10" fmla="*/ 189 w 644"/>
              <a:gd name="T11" fmla="*/ 609 h 676"/>
              <a:gd name="T12" fmla="*/ 256 w 644"/>
              <a:gd name="T13" fmla="*/ 676 h 676"/>
              <a:gd name="T14" fmla="*/ 389 w 644"/>
              <a:gd name="T15" fmla="*/ 676 h 676"/>
              <a:gd name="T16" fmla="*/ 456 w 644"/>
              <a:gd name="T17" fmla="*/ 609 h 676"/>
              <a:gd name="T18" fmla="*/ 456 w 644"/>
              <a:gd name="T19" fmla="*/ 409 h 676"/>
              <a:gd name="T20" fmla="*/ 586 w 644"/>
              <a:gd name="T21" fmla="*/ 409 h 676"/>
              <a:gd name="T22" fmla="*/ 614 w 644"/>
              <a:gd name="T23" fmla="*/ 340 h 676"/>
              <a:gd name="T24" fmla="*/ 377 w 644"/>
              <a:gd name="T25" fmla="*/ 37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4" h="676">
                <a:moveTo>
                  <a:pt x="377" y="37"/>
                </a:moveTo>
                <a:cubicBezTo>
                  <a:pt x="347" y="0"/>
                  <a:pt x="298" y="0"/>
                  <a:pt x="268" y="37"/>
                </a:cubicBezTo>
                <a:lnTo>
                  <a:pt x="30" y="340"/>
                </a:lnTo>
                <a:cubicBezTo>
                  <a:pt x="0" y="378"/>
                  <a:pt x="13" y="409"/>
                  <a:pt x="58" y="409"/>
                </a:cubicBezTo>
                <a:lnTo>
                  <a:pt x="189" y="409"/>
                </a:lnTo>
                <a:lnTo>
                  <a:pt x="189" y="609"/>
                </a:lnTo>
                <a:cubicBezTo>
                  <a:pt x="189" y="646"/>
                  <a:pt x="219" y="676"/>
                  <a:pt x="256" y="676"/>
                </a:cubicBezTo>
                <a:lnTo>
                  <a:pt x="389" y="676"/>
                </a:lnTo>
                <a:cubicBezTo>
                  <a:pt x="426" y="676"/>
                  <a:pt x="456" y="646"/>
                  <a:pt x="456" y="609"/>
                </a:cubicBezTo>
                <a:lnTo>
                  <a:pt x="456" y="409"/>
                </a:lnTo>
                <a:lnTo>
                  <a:pt x="586" y="409"/>
                </a:lnTo>
                <a:cubicBezTo>
                  <a:pt x="632" y="409"/>
                  <a:pt x="644" y="378"/>
                  <a:pt x="614" y="340"/>
                </a:cubicBezTo>
                <a:lnTo>
                  <a:pt x="377" y="37"/>
                </a:lnTo>
                <a:close/>
              </a:path>
            </a:pathLst>
          </a:custGeom>
          <a:solidFill>
            <a:schemeClr val="tx2">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2" name="Metin kutusu 131">
            <a:extLst>
              <a:ext uri="{FF2B5EF4-FFF2-40B4-BE49-F238E27FC236}">
                <a16:creationId xmlns:a16="http://schemas.microsoft.com/office/drawing/2014/main" id="{FA10B556-345A-4EA1-82C8-9C84EEDE784D}"/>
              </a:ext>
            </a:extLst>
          </p:cNvPr>
          <p:cNvSpPr txBox="1"/>
          <p:nvPr/>
        </p:nvSpPr>
        <p:spPr>
          <a:xfrm>
            <a:off x="3321395" y="6474526"/>
            <a:ext cx="554921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000" b="1" i="0" u="sng" strike="noStrike" kern="1200" cap="none" spc="0" normalizeH="0" baseline="0" noProof="0" dirty="0">
                <a:ln>
                  <a:noFill/>
                </a:ln>
                <a:solidFill>
                  <a:prstClr val="black"/>
                </a:solidFill>
                <a:effectLst/>
                <a:uLnTx/>
                <a:uFillTx/>
                <a:latin typeface="Calibri"/>
                <a:ea typeface="+mn-ea"/>
                <a:cs typeface="+mn-cs"/>
              </a:rPr>
              <a:t>Bir ürünün geliştirilmesi </a:t>
            </a:r>
            <a:r>
              <a:rPr kumimoji="0" lang="tr-TR" sz="1800" b="0" i="0" u="none" strike="noStrike" kern="1200" cap="none" spc="0" normalizeH="0" baseline="0" noProof="0" dirty="0">
                <a:ln>
                  <a:noFill/>
                </a:ln>
                <a:solidFill>
                  <a:prstClr val="black"/>
                </a:solidFill>
                <a:effectLst/>
                <a:uLnTx/>
                <a:uFillTx/>
                <a:latin typeface="Calibri"/>
                <a:ea typeface="+mn-ea"/>
                <a:cs typeface="+mn-cs"/>
              </a:rPr>
              <a:t>için başvuru yapmaları esastır.</a:t>
            </a:r>
          </a:p>
        </p:txBody>
      </p:sp>
      <p:sp>
        <p:nvSpPr>
          <p:cNvPr id="2" name="Slayt Numarası Yer Tutucusu 1"/>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4</a:t>
            </a:fld>
            <a:endParaRPr lang="en-CA">
              <a:solidFill>
                <a:prstClr val="black">
                  <a:tint val="75000"/>
                </a:prstClr>
              </a:solidFill>
            </a:endParaRPr>
          </a:p>
        </p:txBody>
      </p:sp>
    </p:spTree>
    <p:custDataLst>
      <p:tags r:id="rId1"/>
    </p:custDataLst>
    <p:extLst>
      <p:ext uri="{BB962C8B-B14F-4D97-AF65-F5344CB8AC3E}">
        <p14:creationId xmlns:p14="http://schemas.microsoft.com/office/powerpoint/2010/main" val="2433386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fade">
                                      <p:cBhvr>
                                        <p:cTn id="13" dur="500"/>
                                        <p:tgtEl>
                                          <p:spTgt spid="69"/>
                                        </p:tgtEl>
                                      </p:cBhvr>
                                    </p:animEffect>
                                  </p:childTnLst>
                                </p:cTn>
                              </p:par>
                            </p:childTnLst>
                          </p:cTn>
                        </p:par>
                        <p:par>
                          <p:cTn id="14" fill="hold">
                            <p:stCondLst>
                              <p:cond delay="500"/>
                            </p:stCondLst>
                            <p:childTnLst>
                              <p:par>
                                <p:cTn id="15" presetID="10" presetClass="entr" presetSubtype="0" fill="hold" grpId="0" nodeType="afterEffect">
                                  <p:stCondLst>
                                    <p:cond delay="75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54"/>
                                        </p:tgtEl>
                                        <p:attrNameLst>
                                          <p:attrName>style.visibility</p:attrName>
                                        </p:attrNameLst>
                                      </p:cBhvr>
                                      <p:to>
                                        <p:strVal val="visible"/>
                                      </p:to>
                                    </p:set>
                                    <p:animEffect transition="in" filter="fade">
                                      <p:cBhvr>
                                        <p:cTn id="20" dur="500"/>
                                        <p:tgtEl>
                                          <p:spTgt spid="54"/>
                                        </p:tgtEl>
                                      </p:cBhvr>
                                    </p:animEffect>
                                  </p:childTnLst>
                                </p:cTn>
                              </p:par>
                              <p:par>
                                <p:cTn id="21" presetID="10" presetClass="entr" presetSubtype="0" fill="hold" nodeType="withEffect">
                                  <p:stCondLst>
                                    <p:cond delay="750"/>
                                  </p:stCondLst>
                                  <p:childTnLst>
                                    <p:set>
                                      <p:cBhvr>
                                        <p:cTn id="22" dur="1" fill="hold">
                                          <p:stCondLst>
                                            <p:cond delay="0"/>
                                          </p:stCondLst>
                                        </p:cTn>
                                        <p:tgtEl>
                                          <p:spTgt spid="72"/>
                                        </p:tgtEl>
                                        <p:attrNameLst>
                                          <p:attrName>style.visibility</p:attrName>
                                        </p:attrNameLst>
                                      </p:cBhvr>
                                      <p:to>
                                        <p:strVal val="visible"/>
                                      </p:to>
                                    </p:set>
                                    <p:animEffect transition="in" filter="fade">
                                      <p:cBhvr>
                                        <p:cTn id="23" dur="500"/>
                                        <p:tgtEl>
                                          <p:spTgt spid="72"/>
                                        </p:tgtEl>
                                      </p:cBhvr>
                                    </p:animEffect>
                                  </p:childTnLst>
                                </p:cTn>
                              </p:par>
                            </p:childTnLst>
                          </p:cTn>
                        </p:par>
                        <p:par>
                          <p:cTn id="24" fill="hold">
                            <p:stCondLst>
                              <p:cond delay="1750"/>
                            </p:stCondLst>
                            <p:childTnLst>
                              <p:par>
                                <p:cTn id="25" presetID="10" presetClass="entr" presetSubtype="0" fill="hold" grpId="0" nodeType="afterEffect">
                                  <p:stCondLst>
                                    <p:cond delay="75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500"/>
                                        <p:tgtEl>
                                          <p:spTgt spid="56"/>
                                        </p:tgtEl>
                                      </p:cBhvr>
                                    </p:animEffect>
                                  </p:childTnLst>
                                </p:cTn>
                              </p:par>
                              <p:par>
                                <p:cTn id="31" presetID="10" presetClass="entr" presetSubtype="0" fill="hold" nodeType="withEffect">
                                  <p:stCondLst>
                                    <p:cond delay="750"/>
                                  </p:stCondLst>
                                  <p:childTnLst>
                                    <p:set>
                                      <p:cBhvr>
                                        <p:cTn id="32" dur="1" fill="hold">
                                          <p:stCondLst>
                                            <p:cond delay="0"/>
                                          </p:stCondLst>
                                        </p:cTn>
                                        <p:tgtEl>
                                          <p:spTgt spid="73"/>
                                        </p:tgtEl>
                                        <p:attrNameLst>
                                          <p:attrName>style.visibility</p:attrName>
                                        </p:attrNameLst>
                                      </p:cBhvr>
                                      <p:to>
                                        <p:strVal val="visible"/>
                                      </p:to>
                                    </p:set>
                                    <p:animEffect transition="in" filter="fade">
                                      <p:cBhvr>
                                        <p:cTn id="33" dur="500"/>
                                        <p:tgtEl>
                                          <p:spTgt spid="73"/>
                                        </p:tgtEl>
                                      </p:cBhvr>
                                    </p:animEffect>
                                  </p:childTnLst>
                                </p:cTn>
                              </p:par>
                            </p:childTnLst>
                          </p:cTn>
                        </p:par>
                        <p:par>
                          <p:cTn id="34" fill="hold">
                            <p:stCondLst>
                              <p:cond delay="3000"/>
                            </p:stCondLst>
                            <p:childTnLst>
                              <p:par>
                                <p:cTn id="35" presetID="10" presetClass="entr" presetSubtype="0" fill="hold" grpId="0" nodeType="afterEffect">
                                  <p:stCondLst>
                                    <p:cond delay="750"/>
                                  </p:stCondLst>
                                  <p:childTnLst>
                                    <p:set>
                                      <p:cBhvr>
                                        <p:cTn id="36" dur="1" fill="hold">
                                          <p:stCondLst>
                                            <p:cond delay="0"/>
                                          </p:stCondLst>
                                        </p:cTn>
                                        <p:tgtEl>
                                          <p:spTgt spid="57"/>
                                        </p:tgtEl>
                                        <p:attrNameLst>
                                          <p:attrName>style.visibility</p:attrName>
                                        </p:attrNameLst>
                                      </p:cBhvr>
                                      <p:to>
                                        <p:strVal val="visible"/>
                                      </p:to>
                                    </p:set>
                                    <p:animEffect transition="in" filter="fade">
                                      <p:cBhvr>
                                        <p:cTn id="37" dur="500"/>
                                        <p:tgtEl>
                                          <p:spTgt spid="57"/>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10" presetClass="entr" presetSubtype="0" fill="hold" nodeType="withEffect">
                                  <p:stCondLst>
                                    <p:cond delay="75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500"/>
                                        <p:tgtEl>
                                          <p:spTgt spid="74"/>
                                        </p:tgtEl>
                                      </p:cBhvr>
                                    </p:animEffect>
                                  </p:childTnLst>
                                </p:cTn>
                              </p:par>
                            </p:childTnLst>
                          </p:cTn>
                        </p:par>
                        <p:par>
                          <p:cTn id="44" fill="hold">
                            <p:stCondLst>
                              <p:cond delay="4250"/>
                            </p:stCondLst>
                            <p:childTnLst>
                              <p:par>
                                <p:cTn id="45" presetID="10" presetClass="entr" presetSubtype="0" fill="hold" grpId="0" nodeType="afterEffect">
                                  <p:stCondLst>
                                    <p:cond delay="750"/>
                                  </p:stCondLst>
                                  <p:childTnLst>
                                    <p:set>
                                      <p:cBhvr>
                                        <p:cTn id="46" dur="1" fill="hold">
                                          <p:stCondLst>
                                            <p:cond delay="0"/>
                                          </p:stCondLst>
                                        </p:cTn>
                                        <p:tgtEl>
                                          <p:spTgt spid="59"/>
                                        </p:tgtEl>
                                        <p:attrNameLst>
                                          <p:attrName>style.visibility</p:attrName>
                                        </p:attrNameLst>
                                      </p:cBhvr>
                                      <p:to>
                                        <p:strVal val="visible"/>
                                      </p:to>
                                    </p:set>
                                    <p:animEffect transition="in" filter="fade">
                                      <p:cBhvr>
                                        <p:cTn id="47" dur="500"/>
                                        <p:tgtEl>
                                          <p:spTgt spid="59"/>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60"/>
                                        </p:tgtEl>
                                        <p:attrNameLst>
                                          <p:attrName>style.visibility</p:attrName>
                                        </p:attrNameLst>
                                      </p:cBhvr>
                                      <p:to>
                                        <p:strVal val="visible"/>
                                      </p:to>
                                    </p:set>
                                    <p:animEffect transition="in" filter="fade">
                                      <p:cBhvr>
                                        <p:cTn id="50" dur="500"/>
                                        <p:tgtEl>
                                          <p:spTgt spid="60"/>
                                        </p:tgtEl>
                                      </p:cBhvr>
                                    </p:animEffect>
                                  </p:childTnLst>
                                </p:cTn>
                              </p:par>
                              <p:par>
                                <p:cTn id="51" presetID="10" presetClass="entr" presetSubtype="0" fill="hold" nodeType="withEffect">
                                  <p:stCondLst>
                                    <p:cond delay="750"/>
                                  </p:stCondLst>
                                  <p:childTnLst>
                                    <p:set>
                                      <p:cBhvr>
                                        <p:cTn id="52" dur="1" fill="hold">
                                          <p:stCondLst>
                                            <p:cond delay="0"/>
                                          </p:stCondLst>
                                        </p:cTn>
                                        <p:tgtEl>
                                          <p:spTgt spid="75"/>
                                        </p:tgtEl>
                                        <p:attrNameLst>
                                          <p:attrName>style.visibility</p:attrName>
                                        </p:attrNameLst>
                                      </p:cBhvr>
                                      <p:to>
                                        <p:strVal val="visible"/>
                                      </p:to>
                                    </p:set>
                                    <p:animEffect transition="in" filter="fade">
                                      <p:cBhvr>
                                        <p:cTn id="53" dur="500"/>
                                        <p:tgtEl>
                                          <p:spTgt spid="75"/>
                                        </p:tgtEl>
                                      </p:cBhvr>
                                    </p:animEffect>
                                  </p:childTnLst>
                                </p:cTn>
                              </p:par>
                            </p:childTnLst>
                          </p:cTn>
                        </p:par>
                        <p:par>
                          <p:cTn id="54" fill="hold">
                            <p:stCondLst>
                              <p:cond delay="5500"/>
                            </p:stCondLst>
                            <p:childTnLst>
                              <p:par>
                                <p:cTn id="55" presetID="10" presetClass="entr" presetSubtype="0" fill="hold" grpId="0" nodeType="afterEffect">
                                  <p:stCondLst>
                                    <p:cond delay="750"/>
                                  </p:stCondLst>
                                  <p:childTnLst>
                                    <p:set>
                                      <p:cBhvr>
                                        <p:cTn id="56" dur="1" fill="hold">
                                          <p:stCondLst>
                                            <p:cond delay="0"/>
                                          </p:stCondLst>
                                        </p:cTn>
                                        <p:tgtEl>
                                          <p:spTgt spid="61"/>
                                        </p:tgtEl>
                                        <p:attrNameLst>
                                          <p:attrName>style.visibility</p:attrName>
                                        </p:attrNameLst>
                                      </p:cBhvr>
                                      <p:to>
                                        <p:strVal val="visible"/>
                                      </p:to>
                                    </p:set>
                                    <p:animEffect transition="in" filter="fade">
                                      <p:cBhvr>
                                        <p:cTn id="57" dur="500"/>
                                        <p:tgtEl>
                                          <p:spTgt spid="61"/>
                                        </p:tgtEl>
                                      </p:cBhvr>
                                    </p:animEffect>
                                  </p:childTnLst>
                                </p:cTn>
                              </p:par>
                              <p:par>
                                <p:cTn id="58" presetID="10" presetClass="entr" presetSubtype="0" fill="hold" grpId="0" nodeType="withEffect">
                                  <p:stCondLst>
                                    <p:cond delay="750"/>
                                  </p:stCondLst>
                                  <p:childTnLst>
                                    <p:set>
                                      <p:cBhvr>
                                        <p:cTn id="59" dur="1" fill="hold">
                                          <p:stCondLst>
                                            <p:cond delay="0"/>
                                          </p:stCondLst>
                                        </p:cTn>
                                        <p:tgtEl>
                                          <p:spTgt spid="62"/>
                                        </p:tgtEl>
                                        <p:attrNameLst>
                                          <p:attrName>style.visibility</p:attrName>
                                        </p:attrNameLst>
                                      </p:cBhvr>
                                      <p:to>
                                        <p:strVal val="visible"/>
                                      </p:to>
                                    </p:set>
                                    <p:animEffect transition="in" filter="fade">
                                      <p:cBhvr>
                                        <p:cTn id="60" dur="500"/>
                                        <p:tgtEl>
                                          <p:spTgt spid="62"/>
                                        </p:tgtEl>
                                      </p:cBhvr>
                                    </p:animEffect>
                                  </p:childTnLst>
                                </p:cTn>
                              </p:par>
                              <p:par>
                                <p:cTn id="61" presetID="10" presetClass="entr" presetSubtype="0" fill="hold" nodeType="withEffect">
                                  <p:stCondLst>
                                    <p:cond delay="750"/>
                                  </p:stCondLst>
                                  <p:childTnLst>
                                    <p:set>
                                      <p:cBhvr>
                                        <p:cTn id="62" dur="1" fill="hold">
                                          <p:stCondLst>
                                            <p:cond delay="0"/>
                                          </p:stCondLst>
                                        </p:cTn>
                                        <p:tgtEl>
                                          <p:spTgt spid="76"/>
                                        </p:tgtEl>
                                        <p:attrNameLst>
                                          <p:attrName>style.visibility</p:attrName>
                                        </p:attrNameLst>
                                      </p:cBhvr>
                                      <p:to>
                                        <p:strVal val="visible"/>
                                      </p:to>
                                    </p:set>
                                    <p:animEffect transition="in" filter="fade">
                                      <p:cBhvr>
                                        <p:cTn id="63" dur="500"/>
                                        <p:tgtEl>
                                          <p:spTgt spid="76"/>
                                        </p:tgtEl>
                                      </p:cBhvr>
                                    </p:animEffect>
                                  </p:childTnLst>
                                </p:cTn>
                              </p:par>
                            </p:childTnLst>
                          </p:cTn>
                        </p:par>
                        <p:par>
                          <p:cTn id="64" fill="hold">
                            <p:stCondLst>
                              <p:cond delay="6750"/>
                            </p:stCondLst>
                            <p:childTnLst>
                              <p:par>
                                <p:cTn id="65" presetID="10" presetClass="entr" presetSubtype="0" fill="hold" grpId="0" nodeType="afterEffect">
                                  <p:stCondLst>
                                    <p:cond delay="75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grpId="0" nodeType="withEffect">
                                  <p:stCondLst>
                                    <p:cond delay="750"/>
                                  </p:stCondLst>
                                  <p:childTnLst>
                                    <p:set>
                                      <p:cBhvr>
                                        <p:cTn id="69" dur="1" fill="hold">
                                          <p:stCondLst>
                                            <p:cond delay="0"/>
                                          </p:stCondLst>
                                        </p:cTn>
                                        <p:tgtEl>
                                          <p:spTgt spid="64"/>
                                        </p:tgtEl>
                                        <p:attrNameLst>
                                          <p:attrName>style.visibility</p:attrName>
                                        </p:attrNameLst>
                                      </p:cBhvr>
                                      <p:to>
                                        <p:strVal val="visible"/>
                                      </p:to>
                                    </p:set>
                                    <p:animEffect transition="in" filter="fade">
                                      <p:cBhvr>
                                        <p:cTn id="70" dur="500"/>
                                        <p:tgtEl>
                                          <p:spTgt spid="64"/>
                                        </p:tgtEl>
                                      </p:cBhvr>
                                    </p:animEffect>
                                  </p:childTnLst>
                                </p:cTn>
                              </p:par>
                              <p:par>
                                <p:cTn id="71" presetID="10" presetClass="entr" presetSubtype="0" fill="hold" nodeType="withEffect">
                                  <p:stCondLst>
                                    <p:cond delay="750"/>
                                  </p:stCondLst>
                                  <p:childTnLst>
                                    <p:set>
                                      <p:cBhvr>
                                        <p:cTn id="72" dur="1" fill="hold">
                                          <p:stCondLst>
                                            <p:cond delay="0"/>
                                          </p:stCondLst>
                                        </p:cTn>
                                        <p:tgtEl>
                                          <p:spTgt spid="77"/>
                                        </p:tgtEl>
                                        <p:attrNameLst>
                                          <p:attrName>style.visibility</p:attrName>
                                        </p:attrNameLst>
                                      </p:cBhvr>
                                      <p:to>
                                        <p:strVal val="visible"/>
                                      </p:to>
                                    </p:set>
                                    <p:animEffect transition="in" filter="fade">
                                      <p:cBhvr>
                                        <p:cTn id="73" dur="500"/>
                                        <p:tgtEl>
                                          <p:spTgt spid="77"/>
                                        </p:tgtEl>
                                      </p:cBhvr>
                                    </p:animEffect>
                                  </p:childTnLst>
                                </p:cTn>
                              </p:par>
                            </p:childTnLst>
                          </p:cTn>
                        </p:par>
                        <p:par>
                          <p:cTn id="74" fill="hold">
                            <p:stCondLst>
                              <p:cond delay="8000"/>
                            </p:stCondLst>
                            <p:childTnLst>
                              <p:par>
                                <p:cTn id="75" presetID="10" presetClass="entr" presetSubtype="0" fill="hold" grpId="0" nodeType="afterEffect">
                                  <p:stCondLst>
                                    <p:cond delay="750"/>
                                  </p:stCondLst>
                                  <p:childTnLst>
                                    <p:set>
                                      <p:cBhvr>
                                        <p:cTn id="76" dur="1" fill="hold">
                                          <p:stCondLst>
                                            <p:cond delay="0"/>
                                          </p:stCondLst>
                                        </p:cTn>
                                        <p:tgtEl>
                                          <p:spTgt spid="66"/>
                                        </p:tgtEl>
                                        <p:attrNameLst>
                                          <p:attrName>style.visibility</p:attrName>
                                        </p:attrNameLst>
                                      </p:cBhvr>
                                      <p:to>
                                        <p:strVal val="visible"/>
                                      </p:to>
                                    </p:set>
                                    <p:animEffect transition="in" filter="fade">
                                      <p:cBhvr>
                                        <p:cTn id="77" dur="500"/>
                                        <p:tgtEl>
                                          <p:spTgt spid="66"/>
                                        </p:tgtEl>
                                      </p:cBhvr>
                                    </p:animEffect>
                                  </p:childTnLst>
                                </p:cTn>
                              </p:par>
                              <p:par>
                                <p:cTn id="78" presetID="10" presetClass="entr" presetSubtype="0" fill="hold" grpId="0" nodeType="withEffect">
                                  <p:stCondLst>
                                    <p:cond delay="750"/>
                                  </p:stCondLst>
                                  <p:childTnLst>
                                    <p:set>
                                      <p:cBhvr>
                                        <p:cTn id="79" dur="1" fill="hold">
                                          <p:stCondLst>
                                            <p:cond delay="0"/>
                                          </p:stCondLst>
                                        </p:cTn>
                                        <p:tgtEl>
                                          <p:spTgt spid="65"/>
                                        </p:tgtEl>
                                        <p:attrNameLst>
                                          <p:attrName>style.visibility</p:attrName>
                                        </p:attrNameLst>
                                      </p:cBhvr>
                                      <p:to>
                                        <p:strVal val="visible"/>
                                      </p:to>
                                    </p:set>
                                    <p:animEffect transition="in" filter="fade">
                                      <p:cBhvr>
                                        <p:cTn id="80" dur="500"/>
                                        <p:tgtEl>
                                          <p:spTgt spid="65"/>
                                        </p:tgtEl>
                                      </p:cBhvr>
                                    </p:animEffect>
                                  </p:childTnLst>
                                </p:cTn>
                              </p:par>
                              <p:par>
                                <p:cTn id="81" presetID="10" presetClass="entr" presetSubtype="0" fill="hold" nodeType="withEffect">
                                  <p:stCondLst>
                                    <p:cond delay="750"/>
                                  </p:stCondLst>
                                  <p:childTnLst>
                                    <p:set>
                                      <p:cBhvr>
                                        <p:cTn id="82" dur="1" fill="hold">
                                          <p:stCondLst>
                                            <p:cond delay="0"/>
                                          </p:stCondLst>
                                        </p:cTn>
                                        <p:tgtEl>
                                          <p:spTgt spid="90"/>
                                        </p:tgtEl>
                                        <p:attrNameLst>
                                          <p:attrName>style.visibility</p:attrName>
                                        </p:attrNameLst>
                                      </p:cBhvr>
                                      <p:to>
                                        <p:strVal val="visible"/>
                                      </p:to>
                                    </p:set>
                                    <p:animEffect transition="in" filter="fade">
                                      <p:cBhvr>
                                        <p:cTn id="83" dur="500"/>
                                        <p:tgtEl>
                                          <p:spTgt spid="90"/>
                                        </p:tgtEl>
                                      </p:cBhvr>
                                    </p:animEffect>
                                  </p:childTnLst>
                                </p:cTn>
                              </p:par>
                            </p:childTnLst>
                          </p:cTn>
                        </p:par>
                        <p:par>
                          <p:cTn id="84" fill="hold">
                            <p:stCondLst>
                              <p:cond delay="9250"/>
                            </p:stCondLst>
                            <p:childTnLst>
                              <p:par>
                                <p:cTn id="85" presetID="10" presetClass="entr" presetSubtype="0" fill="hold" grpId="0" nodeType="afterEffect">
                                  <p:stCondLst>
                                    <p:cond delay="750"/>
                                  </p:stCondLst>
                                  <p:childTnLst>
                                    <p:set>
                                      <p:cBhvr>
                                        <p:cTn id="86" dur="1" fill="hold">
                                          <p:stCondLst>
                                            <p:cond delay="0"/>
                                          </p:stCondLst>
                                        </p:cTn>
                                        <p:tgtEl>
                                          <p:spTgt spid="68"/>
                                        </p:tgtEl>
                                        <p:attrNameLst>
                                          <p:attrName>style.visibility</p:attrName>
                                        </p:attrNameLst>
                                      </p:cBhvr>
                                      <p:to>
                                        <p:strVal val="visible"/>
                                      </p:to>
                                    </p:set>
                                    <p:animEffect transition="in" filter="fade">
                                      <p:cBhvr>
                                        <p:cTn id="87" dur="500"/>
                                        <p:tgtEl>
                                          <p:spTgt spid="68"/>
                                        </p:tgtEl>
                                      </p:cBhvr>
                                    </p:animEffect>
                                  </p:childTnLst>
                                </p:cTn>
                              </p:par>
                              <p:par>
                                <p:cTn id="88" presetID="10" presetClass="entr" presetSubtype="0" fill="hold" grpId="0" nodeType="withEffect">
                                  <p:stCondLst>
                                    <p:cond delay="750"/>
                                  </p:stCondLst>
                                  <p:childTnLst>
                                    <p:set>
                                      <p:cBhvr>
                                        <p:cTn id="89" dur="1" fill="hold">
                                          <p:stCondLst>
                                            <p:cond delay="0"/>
                                          </p:stCondLst>
                                        </p:cTn>
                                        <p:tgtEl>
                                          <p:spTgt spid="67"/>
                                        </p:tgtEl>
                                        <p:attrNameLst>
                                          <p:attrName>style.visibility</p:attrName>
                                        </p:attrNameLst>
                                      </p:cBhvr>
                                      <p:to>
                                        <p:strVal val="visible"/>
                                      </p:to>
                                    </p:set>
                                    <p:animEffect transition="in" filter="fade">
                                      <p:cBhvr>
                                        <p:cTn id="90" dur="500"/>
                                        <p:tgtEl>
                                          <p:spTgt spid="67"/>
                                        </p:tgtEl>
                                      </p:cBhvr>
                                    </p:animEffect>
                                  </p:childTnLst>
                                </p:cTn>
                              </p:par>
                              <p:par>
                                <p:cTn id="91" presetID="10" presetClass="entr" presetSubtype="0" fill="hold" grpId="0" nodeType="withEffect">
                                  <p:stCondLst>
                                    <p:cond delay="750"/>
                                  </p:stCondLst>
                                  <p:childTnLst>
                                    <p:set>
                                      <p:cBhvr>
                                        <p:cTn id="92" dur="1" fill="hold">
                                          <p:stCondLst>
                                            <p:cond delay="0"/>
                                          </p:stCondLst>
                                        </p:cTn>
                                        <p:tgtEl>
                                          <p:spTgt spid="131"/>
                                        </p:tgtEl>
                                        <p:attrNameLst>
                                          <p:attrName>style.visibility</p:attrName>
                                        </p:attrNameLst>
                                      </p:cBhvr>
                                      <p:to>
                                        <p:strVal val="visible"/>
                                      </p:to>
                                    </p:set>
                                    <p:animEffect transition="in" filter="fade">
                                      <p:cBhvr>
                                        <p:cTn id="93" dur="500"/>
                                        <p:tgtEl>
                                          <p:spTgt spid="131"/>
                                        </p:tgtEl>
                                      </p:cBhvr>
                                    </p:animEffect>
                                  </p:childTnLst>
                                </p:cTn>
                              </p:par>
                            </p:childTnLst>
                          </p:cTn>
                        </p:par>
                        <p:par>
                          <p:cTn id="94" fill="hold">
                            <p:stCondLst>
                              <p:cond delay="10500"/>
                            </p:stCondLst>
                            <p:childTnLst>
                              <p:par>
                                <p:cTn id="95" presetID="42" presetClass="entr" presetSubtype="0" fill="hold" grpId="0" nodeType="afterEffect">
                                  <p:stCondLst>
                                    <p:cond delay="0"/>
                                  </p:stCondLst>
                                  <p:childTnLst>
                                    <p:set>
                                      <p:cBhvr>
                                        <p:cTn id="96" dur="1" fill="hold">
                                          <p:stCondLst>
                                            <p:cond delay="0"/>
                                          </p:stCondLst>
                                        </p:cTn>
                                        <p:tgtEl>
                                          <p:spTgt spid="132"/>
                                        </p:tgtEl>
                                        <p:attrNameLst>
                                          <p:attrName>style.visibility</p:attrName>
                                        </p:attrNameLst>
                                      </p:cBhvr>
                                      <p:to>
                                        <p:strVal val="visible"/>
                                      </p:to>
                                    </p:set>
                                    <p:animEffect transition="in" filter="fade">
                                      <p:cBhvr>
                                        <p:cTn id="97" dur="1000"/>
                                        <p:tgtEl>
                                          <p:spTgt spid="132"/>
                                        </p:tgtEl>
                                      </p:cBhvr>
                                    </p:animEffect>
                                    <p:anim calcmode="lin" valueType="num">
                                      <p:cBhvr>
                                        <p:cTn id="98" dur="1000" fill="hold"/>
                                        <p:tgtEl>
                                          <p:spTgt spid="132"/>
                                        </p:tgtEl>
                                        <p:attrNameLst>
                                          <p:attrName>ppt_x</p:attrName>
                                        </p:attrNameLst>
                                      </p:cBhvr>
                                      <p:tavLst>
                                        <p:tav tm="0">
                                          <p:val>
                                            <p:strVal val="#ppt_x"/>
                                          </p:val>
                                        </p:tav>
                                        <p:tav tm="100000">
                                          <p:val>
                                            <p:strVal val="#ppt_x"/>
                                          </p:val>
                                        </p:tav>
                                      </p:tavLst>
                                    </p:anim>
                                    <p:anim calcmode="lin" valueType="num">
                                      <p:cBhvr>
                                        <p:cTn id="99" dur="1000" fill="hold"/>
                                        <p:tgtEl>
                                          <p:spTgt spid="1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131" grpId="0" animBg="1"/>
      <p:bldP spid="13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 y="295378"/>
            <a:ext cx="4585647" cy="6023632"/>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4694831" y="1460793"/>
            <a:ext cx="7203035" cy="2748829"/>
          </a:xfrm>
          <a:prstGeom prst="rect">
            <a:avLst/>
          </a:prstGeom>
          <a:solidFill>
            <a:srgbClr val="DCE6F1"/>
          </a:solidFill>
        </p:spPr>
        <p:txBody>
          <a:bodyPr vert="horz" wrap="square" lIns="0" tIns="45085" rIns="0" bIns="0" rtlCol="0">
            <a:spAutoFit/>
          </a:bodyPr>
          <a:lstStyle/>
          <a:p>
            <a:pPr marL="221615">
              <a:lnSpc>
                <a:spcPct val="100000"/>
              </a:lnSpc>
              <a:spcBef>
                <a:spcPts val="355"/>
              </a:spcBef>
            </a:pPr>
            <a:r>
              <a:rPr sz="2400" b="1" dirty="0">
                <a:solidFill>
                  <a:srgbClr val="006FC0"/>
                </a:solidFill>
                <a:latin typeface="Times New Roman"/>
                <a:cs typeface="Times New Roman"/>
              </a:rPr>
              <a:t>Kimler </a:t>
            </a:r>
            <a:r>
              <a:rPr sz="2400" b="1" spc="-5" dirty="0">
                <a:solidFill>
                  <a:srgbClr val="006FC0"/>
                </a:solidFill>
                <a:latin typeface="Times New Roman"/>
                <a:cs typeface="Times New Roman"/>
              </a:rPr>
              <a:t>Başvurabilir</a:t>
            </a:r>
            <a:r>
              <a:rPr sz="2400" b="1" spc="-200" dirty="0">
                <a:solidFill>
                  <a:srgbClr val="006FC0"/>
                </a:solidFill>
                <a:latin typeface="Times New Roman"/>
                <a:cs typeface="Times New Roman"/>
              </a:rPr>
              <a:t> </a:t>
            </a:r>
            <a:r>
              <a:rPr sz="2400" b="1" dirty="0">
                <a:solidFill>
                  <a:srgbClr val="006FC0"/>
                </a:solidFill>
                <a:latin typeface="Times New Roman"/>
                <a:cs typeface="Times New Roman"/>
              </a:rPr>
              <a:t>?</a:t>
            </a:r>
            <a:endParaRPr sz="2400" dirty="0">
              <a:latin typeface="Times New Roman"/>
              <a:cs typeface="Times New Roman"/>
            </a:endParaRPr>
          </a:p>
          <a:p>
            <a:pPr marL="635000" marR="180340" indent="-342900" algn="just">
              <a:lnSpc>
                <a:spcPct val="100000"/>
              </a:lnSpc>
              <a:spcBef>
                <a:spcPts val="1925"/>
              </a:spcBef>
              <a:buClr>
                <a:srgbClr val="000099"/>
              </a:buClr>
              <a:buFont typeface="Wingdings"/>
              <a:buChar char=""/>
              <a:tabLst>
                <a:tab pos="635000" algn="l"/>
                <a:tab pos="635635" algn="l"/>
              </a:tabLst>
            </a:pPr>
            <a:r>
              <a:rPr lang="tr-TR" sz="2000" spc="-10" dirty="0" smtClean="0">
                <a:latin typeface="Times New Roman"/>
                <a:cs typeface="Times New Roman"/>
              </a:rPr>
              <a:t>KOSGEB Veri Tabanında kayıtlı, KOBİ Beyannamesi onaylı olan ve başvuru tarihi itibariyle Küçük İşletme veya Orta Büyüklükteki İşletme ölçeğinde olanlar.</a:t>
            </a:r>
          </a:p>
          <a:p>
            <a:pPr marL="635000" marR="180340" indent="-342900" algn="just">
              <a:lnSpc>
                <a:spcPct val="100000"/>
              </a:lnSpc>
              <a:spcBef>
                <a:spcPts val="1925"/>
              </a:spcBef>
              <a:buClr>
                <a:srgbClr val="000099"/>
              </a:buClr>
              <a:buFont typeface="Wingdings"/>
              <a:buChar char=""/>
              <a:tabLst>
                <a:tab pos="635000" algn="l"/>
                <a:tab pos="635635" algn="l"/>
              </a:tabLst>
            </a:pPr>
            <a:r>
              <a:rPr lang="tr-TR" sz="2000" spc="-5" dirty="0" smtClean="0">
                <a:solidFill>
                  <a:prstClr val="black"/>
                </a:solidFill>
                <a:latin typeface="Times New Roman" panose="02020603050405020304" pitchFamily="18" charset="0"/>
                <a:cs typeface="Times New Roman" panose="02020603050405020304" pitchFamily="18" charset="0"/>
              </a:rPr>
              <a:t>Orta </a:t>
            </a:r>
            <a:r>
              <a:rPr lang="tr-TR" sz="2000" spc="-5" dirty="0">
                <a:solidFill>
                  <a:prstClr val="black"/>
                </a:solidFill>
                <a:latin typeface="Times New Roman" panose="02020603050405020304" pitchFamily="18" charset="0"/>
                <a:cs typeface="Times New Roman" panose="02020603050405020304" pitchFamily="18" charset="0"/>
              </a:rPr>
              <a:t>yüksek ve Yüksek teknolojili sektörde faaliyet gösteren işletmeler </a:t>
            </a:r>
            <a:r>
              <a:rPr lang="tr-TR" sz="2000" spc="-5" dirty="0" smtClean="0">
                <a:solidFill>
                  <a:prstClr val="black"/>
                </a:solidFill>
                <a:latin typeface="Times New Roman" panose="02020603050405020304" pitchFamily="18" charset="0"/>
                <a:cs typeface="Times New Roman" panose="02020603050405020304" pitchFamily="18" charset="0"/>
              </a:rPr>
              <a:t>başvurabilecektir. Başvuru </a:t>
            </a:r>
            <a:r>
              <a:rPr lang="tr-TR" sz="2000" spc="-5" dirty="0">
                <a:solidFill>
                  <a:prstClr val="black"/>
                </a:solidFill>
                <a:latin typeface="Times New Roman" panose="02020603050405020304" pitchFamily="18" charset="0"/>
                <a:cs typeface="Times New Roman" panose="02020603050405020304" pitchFamily="18" charset="0"/>
              </a:rPr>
              <a:t>tarihi itibariyle onaylı son KOBİ Beyannamesindeki sektör dikkate alınacaktır</a:t>
            </a:r>
            <a:r>
              <a:rPr lang="tr-TR" sz="2000" spc="-5" dirty="0" smtClean="0">
                <a:solidFill>
                  <a:prstClr val="black"/>
                </a:solidFill>
                <a:latin typeface="Times New Roman"/>
                <a:cs typeface="Times New Roman"/>
              </a:rPr>
              <a:t>.</a:t>
            </a:r>
            <a:endParaRPr lang="tr-TR" sz="2000" spc="-5" dirty="0">
              <a:solidFill>
                <a:prstClr val="black"/>
              </a:solidFill>
              <a:latin typeface="Times New Roman"/>
              <a:cs typeface="Times New Roman"/>
            </a:endParaRPr>
          </a:p>
        </p:txBody>
      </p:sp>
      <p:sp>
        <p:nvSpPr>
          <p:cNvPr id="4" name="object 4"/>
          <p:cNvSpPr txBox="1"/>
          <p:nvPr/>
        </p:nvSpPr>
        <p:spPr>
          <a:xfrm>
            <a:off x="4694831" y="4256794"/>
            <a:ext cx="7203035" cy="2081980"/>
          </a:xfrm>
          <a:prstGeom prst="rect">
            <a:avLst/>
          </a:prstGeom>
          <a:solidFill>
            <a:srgbClr val="DDD9C3"/>
          </a:solidFill>
        </p:spPr>
        <p:txBody>
          <a:bodyPr vert="horz" wrap="square" lIns="0" tIns="45085" rIns="0" bIns="0" rtlCol="0">
            <a:spAutoFit/>
          </a:bodyPr>
          <a:lstStyle/>
          <a:p>
            <a:pPr marL="284480" algn="just">
              <a:lnSpc>
                <a:spcPct val="100000"/>
              </a:lnSpc>
              <a:spcBef>
                <a:spcPts val="355"/>
              </a:spcBef>
            </a:pPr>
            <a:r>
              <a:rPr sz="2400" b="1" spc="-15" dirty="0">
                <a:solidFill>
                  <a:srgbClr val="F8A91C"/>
                </a:solidFill>
                <a:latin typeface="Times New Roman"/>
                <a:cs typeface="Times New Roman"/>
              </a:rPr>
              <a:t>Proje Süresi</a:t>
            </a:r>
            <a:r>
              <a:rPr sz="2400" b="1" spc="-40" dirty="0">
                <a:solidFill>
                  <a:srgbClr val="F8A91C"/>
                </a:solidFill>
                <a:latin typeface="Times New Roman"/>
                <a:cs typeface="Times New Roman"/>
              </a:rPr>
              <a:t> </a:t>
            </a:r>
            <a:r>
              <a:rPr sz="2400" b="1" spc="-5" dirty="0">
                <a:solidFill>
                  <a:srgbClr val="F8A91C"/>
                </a:solidFill>
                <a:latin typeface="Times New Roman"/>
                <a:cs typeface="Times New Roman"/>
              </a:rPr>
              <a:t>Nedir?</a:t>
            </a:r>
            <a:endParaRPr sz="2400" dirty="0">
              <a:latin typeface="Times New Roman"/>
              <a:cs typeface="Times New Roman"/>
            </a:endParaRPr>
          </a:p>
          <a:p>
            <a:pPr marL="651510" indent="-342900" algn="just">
              <a:lnSpc>
                <a:spcPct val="100000"/>
              </a:lnSpc>
              <a:spcBef>
                <a:spcPts val="2555"/>
              </a:spcBef>
              <a:buClr>
                <a:srgbClr val="F8A91C"/>
              </a:buClr>
              <a:buSzPct val="125000"/>
              <a:buFont typeface="Wingdings"/>
              <a:buChar char=""/>
              <a:tabLst>
                <a:tab pos="652145" algn="l"/>
              </a:tabLst>
            </a:pPr>
            <a:r>
              <a:rPr sz="2000" dirty="0">
                <a:latin typeface="Times New Roman"/>
                <a:cs typeface="Times New Roman"/>
              </a:rPr>
              <a:t>En az 8, En </a:t>
            </a:r>
            <a:r>
              <a:rPr sz="2000" spc="-5" dirty="0">
                <a:latin typeface="Times New Roman"/>
                <a:cs typeface="Times New Roman"/>
              </a:rPr>
              <a:t>fazla </a:t>
            </a:r>
            <a:r>
              <a:rPr sz="2000" dirty="0">
                <a:latin typeface="Times New Roman"/>
                <a:cs typeface="Times New Roman"/>
              </a:rPr>
              <a:t>24</a:t>
            </a:r>
            <a:r>
              <a:rPr sz="2000" spc="-90" dirty="0">
                <a:latin typeface="Times New Roman"/>
                <a:cs typeface="Times New Roman"/>
              </a:rPr>
              <a:t> </a:t>
            </a:r>
            <a:r>
              <a:rPr sz="2000" dirty="0" smtClean="0">
                <a:latin typeface="Times New Roman"/>
                <a:cs typeface="Times New Roman"/>
              </a:rPr>
              <a:t>ay</a:t>
            </a:r>
            <a:endParaRPr lang="tr-TR" sz="2000" dirty="0" smtClean="0">
              <a:latin typeface="Times New Roman"/>
              <a:cs typeface="Times New Roman"/>
            </a:endParaRPr>
          </a:p>
          <a:p>
            <a:pPr marL="651510" indent="-342900" algn="just">
              <a:lnSpc>
                <a:spcPct val="100000"/>
              </a:lnSpc>
              <a:spcBef>
                <a:spcPts val="2555"/>
              </a:spcBef>
              <a:buClr>
                <a:srgbClr val="F8A91C"/>
              </a:buClr>
              <a:buSzPct val="125000"/>
              <a:buFont typeface="Wingdings"/>
              <a:buChar char=""/>
              <a:tabLst>
                <a:tab pos="652145" algn="l"/>
              </a:tabLst>
            </a:pPr>
            <a:r>
              <a:rPr lang="tr-TR" sz="2000" dirty="0" smtClean="0">
                <a:latin typeface="Times New Roman"/>
                <a:cs typeface="Times New Roman"/>
              </a:rPr>
              <a:t>Proje </a:t>
            </a:r>
            <a:r>
              <a:rPr lang="tr-TR" sz="2000" dirty="0" err="1" smtClean="0">
                <a:latin typeface="Times New Roman"/>
                <a:cs typeface="Times New Roman"/>
              </a:rPr>
              <a:t>sürsi</a:t>
            </a:r>
            <a:r>
              <a:rPr lang="tr-TR" sz="2000" dirty="0" smtClean="0">
                <a:latin typeface="Times New Roman"/>
                <a:cs typeface="Times New Roman"/>
              </a:rPr>
              <a:t> 4 ayın katları olacak şekilde belirlenir.</a:t>
            </a:r>
            <a:endParaRPr sz="2000" dirty="0">
              <a:latin typeface="Times New Roman"/>
              <a:cs typeface="Times New Roman"/>
            </a:endParaRPr>
          </a:p>
          <a:p>
            <a:pPr algn="just">
              <a:lnSpc>
                <a:spcPct val="100000"/>
              </a:lnSpc>
              <a:spcBef>
                <a:spcPts val="5"/>
              </a:spcBef>
              <a:buClr>
                <a:srgbClr val="F8A91C"/>
              </a:buClr>
            </a:pPr>
            <a:endParaRPr sz="2500" dirty="0">
              <a:latin typeface="Times New Roman"/>
              <a:cs typeface="Times New Roman"/>
            </a:endParaRPr>
          </a:p>
        </p:txBody>
      </p:sp>
      <p:sp>
        <p:nvSpPr>
          <p:cNvPr id="13" name="object 13"/>
          <p:cNvSpPr txBox="1">
            <a:spLocks noGrp="1"/>
          </p:cNvSpPr>
          <p:nvPr>
            <p:ph type="title"/>
          </p:nvPr>
        </p:nvSpPr>
        <p:spPr>
          <a:xfrm>
            <a:off x="4694832" y="264601"/>
            <a:ext cx="6242916" cy="814966"/>
          </a:xfrm>
          <a:prstGeom prst="rect">
            <a:avLst/>
          </a:prstGeom>
        </p:spPr>
        <p:txBody>
          <a:bodyPr vert="horz" wrap="square" lIns="0" tIns="14604" rIns="0" bIns="0" rtlCol="0">
            <a:spAutoFit/>
          </a:bodyPr>
          <a:lstStyle/>
          <a:p>
            <a:pPr>
              <a:lnSpc>
                <a:spcPct val="100000"/>
              </a:lnSpc>
              <a:spcBef>
                <a:spcPts val="114"/>
              </a:spcBef>
            </a:pPr>
            <a:r>
              <a:rPr lang="tr-TR" sz="2600" b="1" spc="-20" dirty="0" smtClean="0">
                <a:solidFill>
                  <a:srgbClr val="0F243E"/>
                </a:solidFill>
                <a:effectLst>
                  <a:outerShdw blurRad="38100" dist="38100" dir="2700000" algn="tl">
                    <a:srgbClr val="000000">
                      <a:alpha val="43137"/>
                    </a:srgbClr>
                  </a:outerShdw>
                </a:effectLst>
                <a:latin typeface="Times New Roman"/>
                <a:cs typeface="Times New Roman"/>
              </a:rPr>
              <a:t>Ar-Ge, </a:t>
            </a:r>
            <a:r>
              <a:rPr lang="tr-TR" sz="2600" b="1" spc="-20" dirty="0" err="1" smtClean="0">
                <a:solidFill>
                  <a:srgbClr val="0F243E"/>
                </a:solidFill>
                <a:effectLst>
                  <a:outerShdw blurRad="38100" dist="38100" dir="2700000" algn="tl">
                    <a:srgbClr val="000000">
                      <a:alpha val="43137"/>
                    </a:srgbClr>
                  </a:outerShdw>
                </a:effectLst>
                <a:latin typeface="Times New Roman"/>
                <a:cs typeface="Times New Roman"/>
              </a:rPr>
              <a:t>Ür</a:t>
            </a:r>
            <a:r>
              <a:rPr lang="tr-TR" sz="2600" b="1" spc="-20" dirty="0" smtClean="0">
                <a:solidFill>
                  <a:srgbClr val="0F243E"/>
                </a:solidFill>
                <a:effectLst>
                  <a:outerShdw blurRad="38100" dist="38100" dir="2700000" algn="tl">
                    <a:srgbClr val="000000">
                      <a:alpha val="43137"/>
                    </a:srgbClr>
                  </a:outerShdw>
                </a:effectLst>
                <a:latin typeface="Times New Roman"/>
                <a:cs typeface="Times New Roman"/>
              </a:rPr>
              <a:t>-Ge ve </a:t>
            </a:r>
            <a:r>
              <a:rPr lang="tr-TR" sz="2600" b="1" spc="-20" dirty="0" err="1" smtClean="0">
                <a:solidFill>
                  <a:srgbClr val="0F243E"/>
                </a:solidFill>
                <a:effectLst>
                  <a:outerShdw blurRad="38100" dist="38100" dir="2700000" algn="tl">
                    <a:srgbClr val="000000">
                      <a:alpha val="43137"/>
                    </a:srgbClr>
                  </a:outerShdw>
                </a:effectLst>
                <a:latin typeface="Times New Roman"/>
                <a:cs typeface="Times New Roman"/>
              </a:rPr>
              <a:t>İnovasyon</a:t>
            </a:r>
            <a:r>
              <a:rPr lang="tr-TR" sz="2600" b="1" spc="-20" dirty="0" smtClean="0">
                <a:solidFill>
                  <a:srgbClr val="0F243E"/>
                </a:solidFill>
                <a:effectLst>
                  <a:outerShdw blurRad="38100" dist="38100" dir="2700000" algn="tl">
                    <a:srgbClr val="000000">
                      <a:alpha val="43137"/>
                    </a:srgbClr>
                  </a:outerShdw>
                </a:effectLst>
                <a:latin typeface="Times New Roman"/>
                <a:cs typeface="Times New Roman"/>
              </a:rPr>
              <a:t> Destek Programı</a:t>
            </a:r>
            <a:br>
              <a:rPr lang="tr-TR" sz="2600" b="1" spc="-20" dirty="0" smtClean="0">
                <a:solidFill>
                  <a:srgbClr val="0F243E"/>
                </a:solidFill>
                <a:effectLst>
                  <a:outerShdw blurRad="38100" dist="38100" dir="2700000" algn="tl">
                    <a:srgbClr val="000000">
                      <a:alpha val="43137"/>
                    </a:srgbClr>
                  </a:outerShdw>
                </a:effectLst>
                <a:latin typeface="Times New Roman"/>
                <a:cs typeface="Times New Roman"/>
              </a:rPr>
            </a:br>
            <a:r>
              <a:rPr lang="tr-TR" sz="2600" b="1" spc="-20" dirty="0" smtClean="0">
                <a:solidFill>
                  <a:srgbClr val="0F243E"/>
                </a:solidFill>
                <a:effectLst>
                  <a:outerShdw blurRad="38100" dist="38100" dir="2700000" algn="tl">
                    <a:srgbClr val="000000">
                      <a:alpha val="43137"/>
                    </a:srgbClr>
                  </a:outerShdw>
                </a:effectLst>
                <a:latin typeface="Times New Roman"/>
                <a:cs typeface="Times New Roman"/>
              </a:rPr>
              <a:t>2021-01 Proje Teklif Çağrısı</a:t>
            </a:r>
            <a:endParaRPr sz="2600" dirty="0">
              <a:latin typeface="Times New Roman"/>
              <a:cs typeface="Times New Roman"/>
            </a:endParaRPr>
          </a:p>
        </p:txBody>
      </p:sp>
      <p:sp>
        <p:nvSpPr>
          <p:cNvPr id="14" name="object 14"/>
          <p:cNvSpPr/>
          <p:nvPr/>
        </p:nvSpPr>
        <p:spPr>
          <a:xfrm>
            <a:off x="10937747" y="333756"/>
            <a:ext cx="960120" cy="676656"/>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072355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937747" y="333756"/>
            <a:ext cx="960120" cy="676656"/>
          </a:xfrm>
          <a:prstGeom prst="rect">
            <a:avLst/>
          </a:prstGeom>
          <a:blipFill>
            <a:blip r:embed="rId2"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382137" y="234785"/>
            <a:ext cx="10501019" cy="874598"/>
          </a:xfrm>
          <a:prstGeom prst="rect">
            <a:avLst/>
          </a:prstGeom>
        </p:spPr>
        <p:txBody>
          <a:bodyPr vert="horz" wrap="square" lIns="0" tIns="12700" rIns="0" bIns="0" rtlCol="0">
            <a:spAutoFit/>
          </a:bodyPr>
          <a:lstStyle/>
          <a:p>
            <a:pPr marL="12700">
              <a:lnSpc>
                <a:spcPct val="100000"/>
              </a:lnSpc>
              <a:spcBef>
                <a:spcPts val="100"/>
              </a:spcBef>
            </a:pPr>
            <a:r>
              <a:rPr sz="2800" b="1" spc="-20" dirty="0">
                <a:solidFill>
                  <a:srgbClr val="0F243E"/>
                </a:solidFill>
                <a:effectLst>
                  <a:outerShdw blurRad="38100" dist="38100" dir="2700000" algn="tl">
                    <a:srgbClr val="000000">
                      <a:alpha val="43137"/>
                    </a:srgbClr>
                  </a:outerShdw>
                </a:effectLst>
                <a:latin typeface="Times New Roman"/>
                <a:cs typeface="Times New Roman"/>
              </a:rPr>
              <a:t>Ar-Ge, </a:t>
            </a:r>
            <a:r>
              <a:rPr sz="2800" b="1" spc="-25" dirty="0">
                <a:solidFill>
                  <a:srgbClr val="0F243E"/>
                </a:solidFill>
                <a:effectLst>
                  <a:outerShdw blurRad="38100" dist="38100" dir="2700000" algn="tl">
                    <a:srgbClr val="000000">
                      <a:alpha val="43137"/>
                    </a:srgbClr>
                  </a:outerShdw>
                </a:effectLst>
                <a:latin typeface="Times New Roman"/>
                <a:cs typeface="Times New Roman"/>
              </a:rPr>
              <a:t>Ür-Ge </a:t>
            </a:r>
            <a:r>
              <a:rPr sz="2800" b="1" dirty="0">
                <a:solidFill>
                  <a:srgbClr val="0F243E"/>
                </a:solidFill>
                <a:effectLst>
                  <a:outerShdw blurRad="38100" dist="38100" dir="2700000" algn="tl">
                    <a:srgbClr val="000000">
                      <a:alpha val="43137"/>
                    </a:srgbClr>
                  </a:outerShdw>
                </a:effectLst>
                <a:latin typeface="Times New Roman"/>
                <a:cs typeface="Times New Roman"/>
              </a:rPr>
              <a:t>ve </a:t>
            </a:r>
            <a:r>
              <a:rPr sz="2800" b="1" spc="-5" dirty="0">
                <a:solidFill>
                  <a:srgbClr val="0F243E"/>
                </a:solidFill>
                <a:effectLst>
                  <a:outerShdw blurRad="38100" dist="38100" dir="2700000" algn="tl">
                    <a:srgbClr val="000000">
                      <a:alpha val="43137"/>
                    </a:srgbClr>
                  </a:outerShdw>
                </a:effectLst>
                <a:latin typeface="Times New Roman"/>
                <a:cs typeface="Times New Roman"/>
              </a:rPr>
              <a:t>İnovasyon </a:t>
            </a:r>
            <a:r>
              <a:rPr sz="2800" b="1" spc="-5" dirty="0" err="1">
                <a:solidFill>
                  <a:srgbClr val="0F243E"/>
                </a:solidFill>
                <a:effectLst>
                  <a:outerShdw blurRad="38100" dist="38100" dir="2700000" algn="tl">
                    <a:srgbClr val="000000">
                      <a:alpha val="43137"/>
                    </a:srgbClr>
                  </a:outerShdw>
                </a:effectLst>
                <a:latin typeface="Times New Roman"/>
                <a:cs typeface="Times New Roman"/>
              </a:rPr>
              <a:t>Destek</a:t>
            </a:r>
            <a:r>
              <a:rPr sz="2800" b="1" dirty="0">
                <a:solidFill>
                  <a:srgbClr val="0F243E"/>
                </a:solidFill>
                <a:effectLst>
                  <a:outerShdw blurRad="38100" dist="38100" dir="2700000" algn="tl">
                    <a:srgbClr val="000000">
                      <a:alpha val="43137"/>
                    </a:srgbClr>
                  </a:outerShdw>
                </a:effectLst>
                <a:latin typeface="Times New Roman"/>
                <a:cs typeface="Times New Roman"/>
              </a:rPr>
              <a:t> </a:t>
            </a:r>
            <a:r>
              <a:rPr sz="2800" b="1" spc="-10" dirty="0" err="1" smtClean="0">
                <a:solidFill>
                  <a:srgbClr val="0F243E"/>
                </a:solidFill>
                <a:effectLst>
                  <a:outerShdw blurRad="38100" dist="38100" dir="2700000" algn="tl">
                    <a:srgbClr val="000000">
                      <a:alpha val="43137"/>
                    </a:srgbClr>
                  </a:outerShdw>
                </a:effectLst>
                <a:latin typeface="Times New Roman"/>
                <a:cs typeface="Times New Roman"/>
              </a:rPr>
              <a:t>Programı</a:t>
            </a:r>
            <a:r>
              <a:rPr lang="tr-TR" sz="2800" b="1" spc="-10" dirty="0" smtClean="0">
                <a:solidFill>
                  <a:srgbClr val="0F243E"/>
                </a:solidFill>
                <a:effectLst>
                  <a:outerShdw blurRad="38100" dist="38100" dir="2700000" algn="tl">
                    <a:srgbClr val="000000">
                      <a:alpha val="43137"/>
                    </a:srgbClr>
                  </a:outerShdw>
                </a:effectLst>
                <a:latin typeface="Times New Roman"/>
                <a:cs typeface="Times New Roman"/>
              </a:rPr>
              <a:t/>
            </a:r>
            <a:br>
              <a:rPr lang="tr-TR" sz="2800" b="1" spc="-10" dirty="0" smtClean="0">
                <a:solidFill>
                  <a:srgbClr val="0F243E"/>
                </a:solidFill>
                <a:effectLst>
                  <a:outerShdw blurRad="38100" dist="38100" dir="2700000" algn="tl">
                    <a:srgbClr val="000000">
                      <a:alpha val="43137"/>
                    </a:srgbClr>
                  </a:outerShdw>
                </a:effectLst>
                <a:latin typeface="Times New Roman"/>
                <a:cs typeface="Times New Roman"/>
              </a:rPr>
            </a:br>
            <a:r>
              <a:rPr lang="tr-TR" sz="2800" b="1" spc="-25" dirty="0" smtClean="0">
                <a:solidFill>
                  <a:srgbClr val="0F243E"/>
                </a:solidFill>
                <a:effectLst>
                  <a:outerShdw blurRad="38100" dist="38100" dir="2700000" algn="tl">
                    <a:srgbClr val="000000">
                      <a:alpha val="43137"/>
                    </a:srgbClr>
                  </a:outerShdw>
                </a:effectLst>
                <a:latin typeface="Times New Roman"/>
                <a:cs typeface="Times New Roman"/>
              </a:rPr>
              <a:t>2021-01 </a:t>
            </a:r>
            <a:r>
              <a:rPr lang="tr-TR" sz="2800" b="1" spc="-25" dirty="0">
                <a:solidFill>
                  <a:srgbClr val="0F243E"/>
                </a:solidFill>
                <a:effectLst>
                  <a:outerShdw blurRad="38100" dist="38100" dir="2700000" algn="tl">
                    <a:srgbClr val="000000">
                      <a:alpha val="43137"/>
                    </a:srgbClr>
                  </a:outerShdw>
                </a:effectLst>
                <a:latin typeface="Times New Roman"/>
                <a:cs typeface="Times New Roman"/>
              </a:rPr>
              <a:t>Proje Teklif </a:t>
            </a:r>
            <a:r>
              <a:rPr lang="tr-TR" sz="2800" b="1" spc="-25" dirty="0" smtClean="0">
                <a:solidFill>
                  <a:srgbClr val="0F243E"/>
                </a:solidFill>
                <a:effectLst>
                  <a:outerShdw blurRad="38100" dist="38100" dir="2700000" algn="tl">
                    <a:srgbClr val="000000">
                      <a:alpha val="43137"/>
                    </a:srgbClr>
                  </a:outerShdw>
                </a:effectLst>
                <a:latin typeface="Times New Roman"/>
                <a:cs typeface="Times New Roman"/>
              </a:rPr>
              <a:t>Çağrısı</a:t>
            </a:r>
            <a:endParaRPr sz="2800" b="1" spc="-25" dirty="0">
              <a:solidFill>
                <a:srgbClr val="0F243E"/>
              </a:solidFill>
              <a:effectLst>
                <a:outerShdw blurRad="38100" dist="38100" dir="2700000" algn="tl">
                  <a:srgbClr val="000000">
                    <a:alpha val="43137"/>
                  </a:srgbClr>
                </a:outerShdw>
              </a:effectLst>
              <a:latin typeface="Times New Roman"/>
              <a:cs typeface="Times New Roman"/>
            </a:endParaRPr>
          </a:p>
        </p:txBody>
      </p:sp>
      <p:graphicFrame>
        <p:nvGraphicFramePr>
          <p:cNvPr id="14" name="İçerik Yer Tutucusu 13"/>
          <p:cNvGraphicFramePr>
            <a:graphicFrameLocks noGrp="1"/>
          </p:cNvGraphicFramePr>
          <p:nvPr>
            <p:ph sz="half" idx="2"/>
            <p:extLst>
              <p:ext uri="{D42A27DB-BD31-4B8C-83A1-F6EECF244321}">
                <p14:modId xmlns:p14="http://schemas.microsoft.com/office/powerpoint/2010/main" val="2151280309"/>
              </p:ext>
            </p:extLst>
          </p:nvPr>
        </p:nvGraphicFramePr>
        <p:xfrm>
          <a:off x="382137" y="1788950"/>
          <a:ext cx="5615439" cy="48848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Metin Yer Tutucusu 8"/>
          <p:cNvSpPr>
            <a:spLocks noGrp="1"/>
          </p:cNvSpPr>
          <p:nvPr>
            <p:ph type="body" sz="quarter" idx="3"/>
          </p:nvPr>
        </p:nvSpPr>
        <p:spPr>
          <a:xfrm>
            <a:off x="6172200" y="1082087"/>
            <a:ext cx="5725667" cy="639414"/>
          </a:xfrm>
        </p:spPr>
        <p:txBody>
          <a:bodyPr/>
          <a:lstStyle/>
          <a:p>
            <a:pPr algn="just"/>
            <a:r>
              <a:rPr lang="tr-TR" sz="2800" dirty="0" smtClean="0">
                <a:solidFill>
                  <a:schemeClr val="tx2"/>
                </a:solidFill>
                <a:latin typeface="Times New Roman" panose="02020603050405020304" pitchFamily="18" charset="0"/>
                <a:cs typeface="Times New Roman" panose="02020603050405020304" pitchFamily="18" charset="0"/>
              </a:rPr>
              <a:t>İkinci Sektör ve Konular</a:t>
            </a:r>
            <a:endParaRPr lang="tr-TR" sz="2800" dirty="0">
              <a:solidFill>
                <a:schemeClr val="tx2"/>
              </a:solidFill>
              <a:latin typeface="Times New Roman" panose="02020603050405020304" pitchFamily="18" charset="0"/>
              <a:cs typeface="Times New Roman" panose="02020603050405020304" pitchFamily="18" charset="0"/>
            </a:endParaRPr>
          </a:p>
        </p:txBody>
      </p:sp>
      <p:graphicFrame>
        <p:nvGraphicFramePr>
          <p:cNvPr id="15" name="İçerik Yer Tutucusu 14"/>
          <p:cNvGraphicFramePr>
            <a:graphicFrameLocks noGrp="1"/>
          </p:cNvGraphicFramePr>
          <p:nvPr>
            <p:ph sz="quarter" idx="4"/>
            <p:extLst>
              <p:ext uri="{D42A27DB-BD31-4B8C-83A1-F6EECF244321}">
                <p14:modId xmlns:p14="http://schemas.microsoft.com/office/powerpoint/2010/main" val="2602468913"/>
              </p:ext>
            </p:extLst>
          </p:nvPr>
        </p:nvGraphicFramePr>
        <p:xfrm>
          <a:off x="6172200" y="1788950"/>
          <a:ext cx="5725667" cy="488480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8" name="Metin Yer Tutucusu 8"/>
          <p:cNvSpPr>
            <a:spLocks noGrp="1"/>
          </p:cNvSpPr>
          <p:nvPr>
            <p:ph type="body" sz="quarter" idx="3"/>
          </p:nvPr>
        </p:nvSpPr>
        <p:spPr>
          <a:xfrm>
            <a:off x="446533" y="1082169"/>
            <a:ext cx="5551043" cy="639414"/>
          </a:xfrm>
        </p:spPr>
        <p:txBody>
          <a:bodyPr/>
          <a:lstStyle/>
          <a:p>
            <a:pPr algn="just"/>
            <a:r>
              <a:rPr lang="tr-TR" sz="2800" dirty="0" smtClean="0">
                <a:solidFill>
                  <a:schemeClr val="tx2"/>
                </a:solidFill>
                <a:latin typeface="Times New Roman" panose="02020603050405020304" pitchFamily="18" charset="0"/>
                <a:cs typeface="Times New Roman" panose="02020603050405020304" pitchFamily="18" charset="0"/>
              </a:rPr>
              <a:t>Birinci Sektör ve Konular</a:t>
            </a:r>
            <a:endParaRPr lang="tr-TR" sz="2800" dirty="0">
              <a:solidFill>
                <a:schemeClr val="tx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40009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937747" y="333756"/>
            <a:ext cx="960120" cy="676656"/>
          </a:xfrm>
          <a:prstGeom prst="rect">
            <a:avLst/>
          </a:prstGeom>
          <a:blipFill>
            <a:blip r:embed="rId2"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381204" y="234785"/>
            <a:ext cx="10514666" cy="874598"/>
          </a:xfrm>
          <a:prstGeom prst="rect">
            <a:avLst/>
          </a:prstGeom>
        </p:spPr>
        <p:txBody>
          <a:bodyPr vert="horz" wrap="square" lIns="0" tIns="12700" rIns="0" bIns="0" rtlCol="0" anchor="ctr">
            <a:spAutoFit/>
          </a:bodyPr>
          <a:lstStyle/>
          <a:p>
            <a:pPr marL="12700">
              <a:lnSpc>
                <a:spcPct val="100000"/>
              </a:lnSpc>
              <a:spcBef>
                <a:spcPts val="100"/>
              </a:spcBef>
            </a:pPr>
            <a:r>
              <a:rPr sz="2800" b="1" spc="-20" dirty="0">
                <a:solidFill>
                  <a:srgbClr val="0F243E"/>
                </a:solidFill>
                <a:effectLst>
                  <a:outerShdw blurRad="38100" dist="38100" dir="2700000" algn="tl">
                    <a:srgbClr val="000000">
                      <a:alpha val="43137"/>
                    </a:srgbClr>
                  </a:outerShdw>
                </a:effectLst>
                <a:latin typeface="Times New Roman"/>
                <a:cs typeface="Times New Roman"/>
              </a:rPr>
              <a:t>Ar-Ge, Ür-Ge ve İnovasyon </a:t>
            </a:r>
            <a:r>
              <a:rPr sz="2800" b="1" spc="-20" dirty="0" err="1">
                <a:solidFill>
                  <a:srgbClr val="0F243E"/>
                </a:solidFill>
                <a:effectLst>
                  <a:outerShdw blurRad="38100" dist="38100" dir="2700000" algn="tl">
                    <a:srgbClr val="000000">
                      <a:alpha val="43137"/>
                    </a:srgbClr>
                  </a:outerShdw>
                </a:effectLst>
                <a:latin typeface="Times New Roman"/>
                <a:cs typeface="Times New Roman"/>
              </a:rPr>
              <a:t>Destek</a:t>
            </a:r>
            <a:r>
              <a:rPr sz="2800" b="1" spc="-20" dirty="0">
                <a:solidFill>
                  <a:srgbClr val="0F243E"/>
                </a:solidFill>
                <a:effectLst>
                  <a:outerShdw blurRad="38100" dist="38100" dir="2700000" algn="tl">
                    <a:srgbClr val="000000">
                      <a:alpha val="43137"/>
                    </a:srgbClr>
                  </a:outerShdw>
                </a:effectLst>
                <a:latin typeface="Times New Roman"/>
                <a:cs typeface="Times New Roman"/>
              </a:rPr>
              <a:t> </a:t>
            </a:r>
            <a:r>
              <a:rPr sz="2800" b="1" spc="-20" dirty="0" err="1">
                <a:solidFill>
                  <a:srgbClr val="0F243E"/>
                </a:solidFill>
                <a:effectLst>
                  <a:outerShdw blurRad="38100" dist="38100" dir="2700000" algn="tl">
                    <a:srgbClr val="000000">
                      <a:alpha val="43137"/>
                    </a:srgbClr>
                  </a:outerShdw>
                </a:effectLst>
                <a:latin typeface="Times New Roman"/>
                <a:cs typeface="Times New Roman"/>
              </a:rPr>
              <a:t>Programı</a:t>
            </a:r>
            <a:r>
              <a:rPr lang="tr-TR" sz="2800" b="1" spc="-20" dirty="0">
                <a:solidFill>
                  <a:srgbClr val="0F243E"/>
                </a:solidFill>
                <a:effectLst>
                  <a:outerShdw blurRad="38100" dist="38100" dir="2700000" algn="tl">
                    <a:srgbClr val="000000">
                      <a:alpha val="43137"/>
                    </a:srgbClr>
                  </a:outerShdw>
                </a:effectLst>
                <a:latin typeface="Times New Roman"/>
                <a:cs typeface="Times New Roman"/>
              </a:rPr>
              <a:t/>
            </a:r>
            <a:br>
              <a:rPr lang="tr-TR" sz="2800" b="1" spc="-20" dirty="0">
                <a:solidFill>
                  <a:srgbClr val="0F243E"/>
                </a:solidFill>
                <a:effectLst>
                  <a:outerShdw blurRad="38100" dist="38100" dir="2700000" algn="tl">
                    <a:srgbClr val="000000">
                      <a:alpha val="43137"/>
                    </a:srgbClr>
                  </a:outerShdw>
                </a:effectLst>
                <a:latin typeface="Times New Roman"/>
                <a:cs typeface="Times New Roman"/>
              </a:rPr>
            </a:br>
            <a:r>
              <a:rPr lang="tr-TR" sz="2800" b="1" spc="-20" dirty="0">
                <a:solidFill>
                  <a:srgbClr val="0F243E"/>
                </a:solidFill>
                <a:effectLst>
                  <a:outerShdw blurRad="38100" dist="38100" dir="2700000" algn="tl">
                    <a:srgbClr val="000000">
                      <a:alpha val="43137"/>
                    </a:srgbClr>
                  </a:outerShdw>
                </a:effectLst>
                <a:latin typeface="Times New Roman"/>
                <a:cs typeface="Times New Roman"/>
              </a:rPr>
              <a:t>2021-01 Proje Teklif Çağrısı</a:t>
            </a:r>
            <a:endParaRPr sz="2800" b="1" spc="-20" dirty="0">
              <a:solidFill>
                <a:srgbClr val="0F243E"/>
              </a:solidFill>
              <a:effectLst>
                <a:outerShdw blurRad="38100" dist="38100" dir="2700000" algn="tl">
                  <a:srgbClr val="000000">
                    <a:alpha val="43137"/>
                  </a:srgbClr>
                </a:outerShdw>
              </a:effectLst>
              <a:latin typeface="Times New Roman"/>
              <a:cs typeface="Times New Roman"/>
            </a:endParaRPr>
          </a:p>
        </p:txBody>
      </p:sp>
      <p:graphicFrame>
        <p:nvGraphicFramePr>
          <p:cNvPr id="4" name="Tablo 3"/>
          <p:cNvGraphicFramePr>
            <a:graphicFrameLocks noGrp="1"/>
          </p:cNvGraphicFramePr>
          <p:nvPr>
            <p:extLst>
              <p:ext uri="{D42A27DB-BD31-4B8C-83A1-F6EECF244321}">
                <p14:modId xmlns:p14="http://schemas.microsoft.com/office/powerpoint/2010/main" val="2173881787"/>
              </p:ext>
            </p:extLst>
          </p:nvPr>
        </p:nvGraphicFramePr>
        <p:xfrm>
          <a:off x="272022" y="1218567"/>
          <a:ext cx="11516663" cy="5573395"/>
        </p:xfrm>
        <a:graphic>
          <a:graphicData uri="http://schemas.openxmlformats.org/drawingml/2006/table">
            <a:tbl>
              <a:tblPr firstRow="1" bandRow="1">
                <a:tableStyleId>{2D5ABB26-0587-4C30-8999-92F81FD0307C}</a:tableStyleId>
              </a:tblPr>
              <a:tblGrid>
                <a:gridCol w="5064253">
                  <a:extLst>
                    <a:ext uri="{9D8B030D-6E8A-4147-A177-3AD203B41FA5}">
                      <a16:colId xmlns:a16="http://schemas.microsoft.com/office/drawing/2014/main" val="2274151810"/>
                    </a:ext>
                  </a:extLst>
                </a:gridCol>
                <a:gridCol w="2477069">
                  <a:extLst>
                    <a:ext uri="{9D8B030D-6E8A-4147-A177-3AD203B41FA5}">
                      <a16:colId xmlns:a16="http://schemas.microsoft.com/office/drawing/2014/main" val="3558690512"/>
                    </a:ext>
                  </a:extLst>
                </a:gridCol>
                <a:gridCol w="2477069">
                  <a:extLst>
                    <a:ext uri="{9D8B030D-6E8A-4147-A177-3AD203B41FA5}">
                      <a16:colId xmlns:a16="http://schemas.microsoft.com/office/drawing/2014/main" val="1444030941"/>
                    </a:ext>
                  </a:extLst>
                </a:gridCol>
                <a:gridCol w="1498272">
                  <a:extLst>
                    <a:ext uri="{9D8B030D-6E8A-4147-A177-3AD203B41FA5}">
                      <a16:colId xmlns:a16="http://schemas.microsoft.com/office/drawing/2014/main" val="377566016"/>
                    </a:ext>
                  </a:extLst>
                </a:gridCol>
              </a:tblGrid>
              <a:tr h="516785">
                <a:tc>
                  <a:txBody>
                    <a:bodyPr/>
                    <a:lstStyle/>
                    <a:p>
                      <a:pPr algn="ctr">
                        <a:lnSpc>
                          <a:spcPct val="100000"/>
                        </a:lnSpc>
                        <a:spcBef>
                          <a:spcPts val="5"/>
                        </a:spcBef>
                      </a:pPr>
                      <a:r>
                        <a:rPr sz="1600" b="1" spc="-10" dirty="0" err="1" smtClean="0">
                          <a:solidFill>
                            <a:srgbClr val="FFFFFF"/>
                          </a:solidFill>
                          <a:latin typeface="Times New Roman"/>
                          <a:cs typeface="Times New Roman"/>
                        </a:rPr>
                        <a:t>Destek</a:t>
                      </a:r>
                      <a:r>
                        <a:rPr sz="1600" b="1" spc="-150" dirty="0" smtClean="0">
                          <a:solidFill>
                            <a:srgbClr val="FFFFFF"/>
                          </a:solidFill>
                          <a:latin typeface="Times New Roman"/>
                          <a:cs typeface="Times New Roman"/>
                        </a:rPr>
                        <a:t> </a:t>
                      </a:r>
                      <a:r>
                        <a:rPr sz="1600" b="1" spc="-10" dirty="0">
                          <a:solidFill>
                            <a:srgbClr val="FFFFFF"/>
                          </a:solidFill>
                          <a:latin typeface="Times New Roman"/>
                          <a:cs typeface="Times New Roman"/>
                        </a:rPr>
                        <a:t>Adı</a:t>
                      </a:r>
                      <a:endParaRPr sz="1600" dirty="0">
                        <a:latin typeface="Times New Roman"/>
                        <a:cs typeface="Times New Roman"/>
                      </a:endParaRPr>
                    </a:p>
                  </a:txBody>
                  <a:tcPr marL="0" marR="0" marT="635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95250" indent="0" algn="ctr">
                        <a:lnSpc>
                          <a:spcPct val="100000"/>
                        </a:lnSpc>
                        <a:spcBef>
                          <a:spcPts val="330"/>
                        </a:spcBef>
                      </a:pPr>
                      <a:r>
                        <a:rPr sz="1600" b="1" spc="-10" dirty="0" err="1">
                          <a:solidFill>
                            <a:srgbClr val="FFFFFF"/>
                          </a:solidFill>
                          <a:latin typeface="Times New Roman"/>
                          <a:cs typeface="Times New Roman"/>
                        </a:rPr>
                        <a:t>Küçük</a:t>
                      </a:r>
                      <a:r>
                        <a:rPr sz="1600" b="1" spc="-45" dirty="0">
                          <a:solidFill>
                            <a:srgbClr val="FFFFFF"/>
                          </a:solidFill>
                          <a:latin typeface="Times New Roman"/>
                          <a:cs typeface="Times New Roman"/>
                        </a:rPr>
                        <a:t> </a:t>
                      </a:r>
                      <a:r>
                        <a:rPr sz="1600" b="1" spc="-10" dirty="0" err="1" smtClean="0">
                          <a:solidFill>
                            <a:srgbClr val="FFFFFF"/>
                          </a:solidFill>
                          <a:latin typeface="Times New Roman"/>
                          <a:cs typeface="Times New Roman"/>
                        </a:rPr>
                        <a:t>İşletme</a:t>
                      </a:r>
                      <a:r>
                        <a:rPr lang="tr-TR" sz="1600" b="0" spc="0" baseline="0" dirty="0" smtClean="0">
                          <a:solidFill>
                            <a:schemeClr val="tx1"/>
                          </a:solidFill>
                          <a:latin typeface="Times New Roman"/>
                          <a:cs typeface="Times New Roman"/>
                        </a:rPr>
                        <a:t> </a:t>
                      </a:r>
                      <a:r>
                        <a:rPr sz="1600" b="1" spc="-10" dirty="0" err="1" smtClean="0">
                          <a:solidFill>
                            <a:srgbClr val="FFFFFF"/>
                          </a:solidFill>
                          <a:latin typeface="Times New Roman"/>
                          <a:cs typeface="Times New Roman"/>
                        </a:rPr>
                        <a:t>Destek</a:t>
                      </a:r>
                      <a:r>
                        <a:rPr sz="1600" b="1" spc="-10" dirty="0" smtClean="0">
                          <a:solidFill>
                            <a:srgbClr val="FFFFFF"/>
                          </a:solidFill>
                          <a:latin typeface="Times New Roman"/>
                          <a:cs typeface="Times New Roman"/>
                        </a:rPr>
                        <a:t> </a:t>
                      </a:r>
                      <a:r>
                        <a:rPr sz="1600" b="1" spc="-10" dirty="0">
                          <a:solidFill>
                            <a:srgbClr val="FFFFFF"/>
                          </a:solidFill>
                          <a:latin typeface="Times New Roman"/>
                          <a:cs typeface="Times New Roman"/>
                        </a:rPr>
                        <a:t>Üst Limiti</a:t>
                      </a:r>
                      <a:r>
                        <a:rPr sz="1600" b="1" spc="40" dirty="0">
                          <a:solidFill>
                            <a:srgbClr val="FFFFFF"/>
                          </a:solidFill>
                          <a:latin typeface="Times New Roman"/>
                          <a:cs typeface="Times New Roman"/>
                        </a:rPr>
                        <a:t> </a:t>
                      </a:r>
                      <a:r>
                        <a:rPr sz="1600" b="1" spc="-10" dirty="0">
                          <a:solidFill>
                            <a:srgbClr val="FFFFFF"/>
                          </a:solidFill>
                          <a:latin typeface="Times New Roman"/>
                          <a:cs typeface="Times New Roman"/>
                        </a:rPr>
                        <a:t>(TL)</a:t>
                      </a:r>
                      <a:endParaRPr sz="1600" dirty="0">
                        <a:latin typeface="Times New Roman"/>
                        <a:cs typeface="Times New Roman"/>
                      </a:endParaRPr>
                    </a:p>
                  </a:txBody>
                  <a:tcPr marL="0" marR="0" marT="4191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algn="ctr">
                        <a:lnSpc>
                          <a:spcPct val="100000"/>
                        </a:lnSpc>
                        <a:spcBef>
                          <a:spcPts val="330"/>
                        </a:spcBef>
                      </a:pPr>
                      <a:r>
                        <a:rPr sz="1600" b="1" spc="-5" dirty="0">
                          <a:solidFill>
                            <a:srgbClr val="FFFFFF"/>
                          </a:solidFill>
                          <a:latin typeface="Times New Roman"/>
                          <a:cs typeface="Times New Roman"/>
                        </a:rPr>
                        <a:t>Orta </a:t>
                      </a:r>
                      <a:r>
                        <a:rPr sz="1600" b="1" spc="-10" dirty="0" err="1">
                          <a:solidFill>
                            <a:srgbClr val="FFFFFF"/>
                          </a:solidFill>
                          <a:latin typeface="Times New Roman"/>
                          <a:cs typeface="Times New Roman"/>
                        </a:rPr>
                        <a:t>Büyüklükteki</a:t>
                      </a:r>
                      <a:r>
                        <a:rPr sz="1600" b="1" spc="35" dirty="0">
                          <a:solidFill>
                            <a:srgbClr val="FFFFFF"/>
                          </a:solidFill>
                          <a:latin typeface="Times New Roman"/>
                          <a:cs typeface="Times New Roman"/>
                        </a:rPr>
                        <a:t> </a:t>
                      </a:r>
                      <a:r>
                        <a:rPr sz="1600" b="1" spc="-10" dirty="0" err="1" smtClean="0">
                          <a:solidFill>
                            <a:srgbClr val="FFFFFF"/>
                          </a:solidFill>
                          <a:latin typeface="Times New Roman"/>
                          <a:cs typeface="Times New Roman"/>
                        </a:rPr>
                        <a:t>İşletme</a:t>
                      </a:r>
                      <a:r>
                        <a:rPr lang="tr-TR" sz="1600" b="0" spc="0" baseline="0" dirty="0" smtClean="0">
                          <a:solidFill>
                            <a:schemeClr val="tx1"/>
                          </a:solidFill>
                          <a:latin typeface="Times New Roman"/>
                          <a:cs typeface="Times New Roman"/>
                        </a:rPr>
                        <a:t> </a:t>
                      </a:r>
                      <a:r>
                        <a:rPr sz="1600" b="1" spc="-10" dirty="0" err="1" smtClean="0">
                          <a:solidFill>
                            <a:srgbClr val="FFFFFF"/>
                          </a:solidFill>
                          <a:latin typeface="Times New Roman"/>
                          <a:cs typeface="Times New Roman"/>
                        </a:rPr>
                        <a:t>Destek</a:t>
                      </a:r>
                      <a:r>
                        <a:rPr sz="1600" b="1" spc="-10" dirty="0" smtClean="0">
                          <a:solidFill>
                            <a:srgbClr val="FFFFFF"/>
                          </a:solidFill>
                          <a:latin typeface="Times New Roman"/>
                          <a:cs typeface="Times New Roman"/>
                        </a:rPr>
                        <a:t> </a:t>
                      </a:r>
                      <a:r>
                        <a:rPr sz="1600" b="1" spc="-10" dirty="0">
                          <a:solidFill>
                            <a:srgbClr val="FFFFFF"/>
                          </a:solidFill>
                          <a:latin typeface="Times New Roman"/>
                          <a:cs typeface="Times New Roman"/>
                        </a:rPr>
                        <a:t>Üst Limiti</a:t>
                      </a:r>
                      <a:r>
                        <a:rPr sz="1600" b="1" spc="40" dirty="0">
                          <a:solidFill>
                            <a:srgbClr val="FFFFFF"/>
                          </a:solidFill>
                          <a:latin typeface="Times New Roman"/>
                          <a:cs typeface="Times New Roman"/>
                        </a:rPr>
                        <a:t> </a:t>
                      </a:r>
                      <a:r>
                        <a:rPr sz="1600" b="1" spc="-10" dirty="0">
                          <a:solidFill>
                            <a:srgbClr val="FFFFFF"/>
                          </a:solidFill>
                          <a:latin typeface="Times New Roman"/>
                          <a:cs typeface="Times New Roman"/>
                        </a:rPr>
                        <a:t>(TL)</a:t>
                      </a:r>
                      <a:endParaRPr sz="1600" dirty="0">
                        <a:latin typeface="Times New Roman"/>
                        <a:cs typeface="Times New Roman"/>
                      </a:endParaRPr>
                    </a:p>
                  </a:txBody>
                  <a:tcPr marL="0" marR="0" marT="4191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2540" algn="ctr">
                        <a:lnSpc>
                          <a:spcPct val="100000"/>
                        </a:lnSpc>
                        <a:spcBef>
                          <a:spcPts val="5"/>
                        </a:spcBef>
                      </a:pPr>
                      <a:r>
                        <a:rPr sz="1600" b="1" spc="-10" dirty="0" err="1" smtClean="0">
                          <a:solidFill>
                            <a:srgbClr val="FFFFFF"/>
                          </a:solidFill>
                          <a:latin typeface="Times New Roman"/>
                          <a:cs typeface="Times New Roman"/>
                        </a:rPr>
                        <a:t>Destek</a:t>
                      </a:r>
                      <a:r>
                        <a:rPr sz="1600" b="1" spc="-10" dirty="0" smtClean="0">
                          <a:solidFill>
                            <a:srgbClr val="FFFFFF"/>
                          </a:solidFill>
                          <a:latin typeface="Times New Roman"/>
                          <a:cs typeface="Times New Roman"/>
                        </a:rPr>
                        <a:t> </a:t>
                      </a:r>
                      <a:r>
                        <a:rPr sz="1600" b="1" spc="-10" dirty="0">
                          <a:solidFill>
                            <a:srgbClr val="FFFFFF"/>
                          </a:solidFill>
                          <a:latin typeface="Times New Roman"/>
                          <a:cs typeface="Times New Roman"/>
                        </a:rPr>
                        <a:t>Oranı</a:t>
                      </a:r>
                      <a:r>
                        <a:rPr sz="1600" b="1" dirty="0">
                          <a:solidFill>
                            <a:srgbClr val="FFFFFF"/>
                          </a:solidFill>
                          <a:latin typeface="Times New Roman"/>
                          <a:cs typeface="Times New Roman"/>
                        </a:rPr>
                        <a:t> </a:t>
                      </a:r>
                      <a:r>
                        <a:rPr sz="1600" b="1" spc="-15" dirty="0">
                          <a:solidFill>
                            <a:srgbClr val="FFFFFF"/>
                          </a:solidFill>
                          <a:latin typeface="Times New Roman"/>
                          <a:cs typeface="Times New Roman"/>
                        </a:rPr>
                        <a:t>(%)</a:t>
                      </a:r>
                      <a:endParaRPr sz="1600" dirty="0">
                        <a:latin typeface="Times New Roman"/>
                        <a:cs typeface="Times New Roman"/>
                      </a:endParaRPr>
                    </a:p>
                  </a:txBody>
                  <a:tcPr marL="0" marR="0" marT="635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extLst>
                  <a:ext uri="{0D108BD9-81ED-4DB2-BD59-A6C34878D82A}">
                    <a16:rowId xmlns:a16="http://schemas.microsoft.com/office/drawing/2014/main" val="144208541"/>
                  </a:ext>
                </a:extLst>
              </a:tr>
              <a:tr h="535374">
                <a:tc>
                  <a:txBody>
                    <a:bodyPr/>
                    <a:lstStyle/>
                    <a:p>
                      <a:pPr marL="0" lvl="0" indent="0" algn="l">
                        <a:lnSpc>
                          <a:spcPts val="1835"/>
                        </a:lnSpc>
                      </a:pPr>
                      <a:r>
                        <a:rPr sz="1600" b="1" spc="-15" dirty="0">
                          <a:solidFill>
                            <a:srgbClr val="FFFFFF"/>
                          </a:solidFill>
                          <a:latin typeface="Times New Roman"/>
                          <a:cs typeface="Times New Roman"/>
                        </a:rPr>
                        <a:t>Makine-Teçhizat, </a:t>
                      </a:r>
                      <a:r>
                        <a:rPr sz="1600" b="1" spc="-10" dirty="0">
                          <a:solidFill>
                            <a:srgbClr val="FFFFFF"/>
                          </a:solidFill>
                          <a:latin typeface="Times New Roman"/>
                          <a:cs typeface="Times New Roman"/>
                        </a:rPr>
                        <a:t>Donanım,</a:t>
                      </a:r>
                      <a:r>
                        <a:rPr sz="1600" b="1" spc="25" dirty="0">
                          <a:solidFill>
                            <a:srgbClr val="FFFFFF"/>
                          </a:solidFill>
                          <a:latin typeface="Times New Roman"/>
                          <a:cs typeface="Times New Roman"/>
                        </a:rPr>
                        <a:t> </a:t>
                      </a:r>
                      <a:r>
                        <a:rPr sz="1600" b="1" spc="-10" dirty="0" err="1" smtClean="0">
                          <a:solidFill>
                            <a:srgbClr val="FFFFFF"/>
                          </a:solidFill>
                          <a:latin typeface="Times New Roman"/>
                          <a:cs typeface="Times New Roman"/>
                        </a:rPr>
                        <a:t>Hammadde</a:t>
                      </a:r>
                      <a:r>
                        <a:rPr sz="1600" b="1" spc="-10" dirty="0" smtClean="0">
                          <a:solidFill>
                            <a:srgbClr val="FFFFFF"/>
                          </a:solidFill>
                          <a:latin typeface="Times New Roman"/>
                          <a:cs typeface="Times New Roman"/>
                        </a:rPr>
                        <a:t>,</a:t>
                      </a:r>
                      <a:r>
                        <a:rPr lang="tr-TR" sz="1600" b="0" spc="0" baseline="0" dirty="0" smtClean="0">
                          <a:solidFill>
                            <a:schemeClr val="tx1"/>
                          </a:solidFill>
                          <a:latin typeface="Times New Roman"/>
                          <a:cs typeface="Times New Roman"/>
                        </a:rPr>
                        <a:t> </a:t>
                      </a:r>
                      <a:r>
                        <a:rPr sz="1600" b="1" spc="-35" dirty="0" err="1" smtClean="0">
                          <a:solidFill>
                            <a:srgbClr val="FFFFFF"/>
                          </a:solidFill>
                          <a:latin typeface="Times New Roman"/>
                          <a:cs typeface="Times New Roman"/>
                        </a:rPr>
                        <a:t>Yazılım</a:t>
                      </a:r>
                      <a:r>
                        <a:rPr sz="1600" b="1" spc="-35" dirty="0" smtClean="0">
                          <a:solidFill>
                            <a:srgbClr val="FFFFFF"/>
                          </a:solidFill>
                          <a:latin typeface="Times New Roman"/>
                          <a:cs typeface="Times New Roman"/>
                        </a:rPr>
                        <a:t> </a:t>
                      </a:r>
                      <a:r>
                        <a:rPr sz="1600" b="1" spc="-5" dirty="0">
                          <a:solidFill>
                            <a:srgbClr val="FFFFFF"/>
                          </a:solidFill>
                          <a:latin typeface="Times New Roman"/>
                          <a:cs typeface="Times New Roman"/>
                        </a:rPr>
                        <a:t>ve </a:t>
                      </a:r>
                      <a:r>
                        <a:rPr sz="1600" b="1" spc="-10" dirty="0">
                          <a:solidFill>
                            <a:srgbClr val="FFFFFF"/>
                          </a:solidFill>
                          <a:latin typeface="Times New Roman"/>
                          <a:cs typeface="Times New Roman"/>
                        </a:rPr>
                        <a:t>Hizmet Alımı </a:t>
                      </a:r>
                      <a:r>
                        <a:rPr sz="1600" b="1" spc="-5" dirty="0">
                          <a:solidFill>
                            <a:srgbClr val="FFFFFF"/>
                          </a:solidFill>
                          <a:latin typeface="Times New Roman"/>
                          <a:cs typeface="Times New Roman"/>
                        </a:rPr>
                        <a:t>Giderleri</a:t>
                      </a:r>
                      <a:r>
                        <a:rPr sz="1600" b="1" spc="140" dirty="0">
                          <a:solidFill>
                            <a:srgbClr val="FFFFFF"/>
                          </a:solidFill>
                          <a:latin typeface="Times New Roman"/>
                          <a:cs typeface="Times New Roman"/>
                        </a:rPr>
                        <a:t> </a:t>
                      </a:r>
                      <a:r>
                        <a:rPr sz="1600" b="1" spc="-10" dirty="0">
                          <a:solidFill>
                            <a:srgbClr val="FFFFFF"/>
                          </a:solidFill>
                          <a:latin typeface="Times New Roman"/>
                          <a:cs typeface="Times New Roman"/>
                        </a:rPr>
                        <a:t>Desteği</a:t>
                      </a:r>
                      <a:endParaRPr sz="1600" dirty="0">
                        <a:latin typeface="Times New Roman"/>
                        <a:cs typeface="Times New Roman"/>
                      </a:endParaRPr>
                    </a:p>
                  </a:txBody>
                  <a:tcPr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4F81BC"/>
                    </a:solidFill>
                  </a:tcPr>
                </a:tc>
                <a:tc>
                  <a:txBody>
                    <a:bodyPr/>
                    <a:lstStyle/>
                    <a:p>
                      <a:pPr algn="ctr">
                        <a:lnSpc>
                          <a:spcPct val="100000"/>
                        </a:lnSpc>
                        <a:spcBef>
                          <a:spcPts val="869"/>
                        </a:spcBef>
                      </a:pPr>
                      <a:r>
                        <a:rPr sz="1600" spc="-5" dirty="0">
                          <a:latin typeface="Times New Roman"/>
                          <a:cs typeface="Times New Roman"/>
                        </a:rPr>
                        <a:t>400.000</a:t>
                      </a:r>
                      <a:endParaRPr sz="1600" dirty="0">
                        <a:latin typeface="Times New Roman"/>
                        <a:cs typeface="Times New Roman"/>
                      </a:endParaRPr>
                    </a:p>
                  </a:txBody>
                  <a:tcPr marL="0" marR="0" marT="110489"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869"/>
                        </a:spcBef>
                      </a:pPr>
                      <a:r>
                        <a:rPr sz="1600" spc="-5" dirty="0">
                          <a:latin typeface="Times New Roman"/>
                          <a:cs typeface="Times New Roman"/>
                        </a:rPr>
                        <a:t>2.000.000</a:t>
                      </a:r>
                      <a:endParaRPr sz="1600">
                        <a:latin typeface="Times New Roman"/>
                        <a:cs typeface="Times New Roman"/>
                      </a:endParaRPr>
                    </a:p>
                  </a:txBody>
                  <a:tcPr marL="0" marR="0" marT="110489"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3175" algn="ctr">
                        <a:lnSpc>
                          <a:spcPct val="100000"/>
                        </a:lnSpc>
                        <a:spcBef>
                          <a:spcPts val="869"/>
                        </a:spcBef>
                      </a:pPr>
                      <a:r>
                        <a:rPr sz="1600" spc="-5" dirty="0">
                          <a:latin typeface="Times New Roman"/>
                          <a:cs typeface="Times New Roman"/>
                        </a:rPr>
                        <a:t>75</a:t>
                      </a:r>
                      <a:endParaRPr sz="1600" dirty="0">
                        <a:latin typeface="Times New Roman"/>
                        <a:cs typeface="Times New Roman"/>
                      </a:endParaRPr>
                    </a:p>
                  </a:txBody>
                  <a:tcPr marL="0" marR="0" marT="110489"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4271266972"/>
                  </a:ext>
                </a:extLst>
              </a:tr>
              <a:tr h="758447">
                <a:tc>
                  <a:txBody>
                    <a:bodyPr/>
                    <a:lstStyle/>
                    <a:p>
                      <a:pPr lvl="0" algn="l">
                        <a:lnSpc>
                          <a:spcPts val="1825"/>
                        </a:lnSpc>
                      </a:pPr>
                      <a:r>
                        <a:rPr sz="1600" b="1" spc="-15" dirty="0">
                          <a:solidFill>
                            <a:srgbClr val="FFFFFF"/>
                          </a:solidFill>
                          <a:latin typeface="Times New Roman"/>
                          <a:cs typeface="Times New Roman"/>
                        </a:rPr>
                        <a:t>Makine-Teçhizat, </a:t>
                      </a:r>
                      <a:r>
                        <a:rPr sz="1600" b="1" spc="-10" dirty="0">
                          <a:solidFill>
                            <a:srgbClr val="FFFFFF"/>
                          </a:solidFill>
                          <a:latin typeface="Times New Roman"/>
                          <a:cs typeface="Times New Roman"/>
                        </a:rPr>
                        <a:t>Donanım,</a:t>
                      </a:r>
                      <a:r>
                        <a:rPr sz="1600" b="1" spc="25" dirty="0">
                          <a:solidFill>
                            <a:srgbClr val="FFFFFF"/>
                          </a:solidFill>
                          <a:latin typeface="Times New Roman"/>
                          <a:cs typeface="Times New Roman"/>
                        </a:rPr>
                        <a:t> </a:t>
                      </a:r>
                      <a:r>
                        <a:rPr sz="1600" b="1" spc="-10" dirty="0" err="1" smtClean="0">
                          <a:solidFill>
                            <a:srgbClr val="FFFFFF"/>
                          </a:solidFill>
                          <a:latin typeface="Times New Roman"/>
                          <a:cs typeface="Times New Roman"/>
                        </a:rPr>
                        <a:t>Hammadde</a:t>
                      </a:r>
                      <a:r>
                        <a:rPr sz="1600" b="1" spc="-10" dirty="0" smtClean="0">
                          <a:solidFill>
                            <a:srgbClr val="FFFFFF"/>
                          </a:solidFill>
                          <a:latin typeface="Times New Roman"/>
                          <a:cs typeface="Times New Roman"/>
                        </a:rPr>
                        <a:t>,</a:t>
                      </a:r>
                      <a:r>
                        <a:rPr lang="tr-TR" sz="1600" b="0" spc="0" baseline="0" dirty="0" smtClean="0">
                          <a:solidFill>
                            <a:schemeClr val="tx1"/>
                          </a:solidFill>
                          <a:latin typeface="Times New Roman"/>
                          <a:cs typeface="Times New Roman"/>
                        </a:rPr>
                        <a:t> </a:t>
                      </a:r>
                      <a:r>
                        <a:rPr sz="1600" b="1" spc="-35" dirty="0" err="1" smtClean="0">
                          <a:solidFill>
                            <a:srgbClr val="FFFFFF"/>
                          </a:solidFill>
                          <a:latin typeface="Times New Roman"/>
                          <a:cs typeface="Times New Roman"/>
                        </a:rPr>
                        <a:t>Yazılım</a:t>
                      </a:r>
                      <a:r>
                        <a:rPr sz="1600" b="1" spc="-35" dirty="0" smtClean="0">
                          <a:solidFill>
                            <a:srgbClr val="FFFFFF"/>
                          </a:solidFill>
                          <a:latin typeface="Times New Roman"/>
                          <a:cs typeface="Times New Roman"/>
                        </a:rPr>
                        <a:t> </a:t>
                      </a:r>
                      <a:r>
                        <a:rPr sz="1600" b="1" spc="-5" dirty="0">
                          <a:solidFill>
                            <a:srgbClr val="FFFFFF"/>
                          </a:solidFill>
                          <a:latin typeface="Times New Roman"/>
                          <a:cs typeface="Times New Roman"/>
                        </a:rPr>
                        <a:t>ve </a:t>
                      </a:r>
                      <a:r>
                        <a:rPr sz="1600" b="1" spc="-10" dirty="0">
                          <a:solidFill>
                            <a:srgbClr val="FFFFFF"/>
                          </a:solidFill>
                          <a:latin typeface="Times New Roman"/>
                          <a:cs typeface="Times New Roman"/>
                        </a:rPr>
                        <a:t>Hizmet Alımı </a:t>
                      </a:r>
                      <a:r>
                        <a:rPr sz="1600" b="1" spc="-5" dirty="0">
                          <a:solidFill>
                            <a:srgbClr val="FFFFFF"/>
                          </a:solidFill>
                          <a:latin typeface="Times New Roman"/>
                          <a:cs typeface="Times New Roman"/>
                        </a:rPr>
                        <a:t>Giderleri</a:t>
                      </a:r>
                      <a:r>
                        <a:rPr sz="1600" b="1" spc="140" dirty="0">
                          <a:solidFill>
                            <a:srgbClr val="FFFFFF"/>
                          </a:solidFill>
                          <a:latin typeface="Times New Roman"/>
                          <a:cs typeface="Times New Roman"/>
                        </a:rPr>
                        <a:t> </a:t>
                      </a:r>
                      <a:r>
                        <a:rPr sz="1600" b="1" spc="-10" dirty="0">
                          <a:solidFill>
                            <a:srgbClr val="FFFFFF"/>
                          </a:solidFill>
                          <a:latin typeface="Times New Roman"/>
                          <a:cs typeface="Times New Roman"/>
                        </a:rPr>
                        <a:t>Desteği</a:t>
                      </a:r>
                      <a:endParaRPr sz="1600" dirty="0">
                        <a:latin typeface="Times New Roman"/>
                        <a:cs typeface="Times New Roman"/>
                      </a:endParaRPr>
                    </a:p>
                    <a:p>
                      <a:pPr lvl="0" algn="l">
                        <a:lnSpc>
                          <a:spcPts val="1814"/>
                        </a:lnSpc>
                      </a:pPr>
                      <a:r>
                        <a:rPr sz="1600" b="1" spc="-5" dirty="0">
                          <a:solidFill>
                            <a:srgbClr val="FFFFFF"/>
                          </a:solidFill>
                          <a:latin typeface="Times New Roman"/>
                          <a:cs typeface="Times New Roman"/>
                        </a:rPr>
                        <a:t>(Geri</a:t>
                      </a:r>
                      <a:r>
                        <a:rPr sz="1600" b="1" spc="-35" dirty="0">
                          <a:solidFill>
                            <a:srgbClr val="FFFFFF"/>
                          </a:solidFill>
                          <a:latin typeface="Times New Roman"/>
                          <a:cs typeface="Times New Roman"/>
                        </a:rPr>
                        <a:t> </a:t>
                      </a:r>
                      <a:r>
                        <a:rPr sz="1600" b="1" spc="-10" dirty="0">
                          <a:solidFill>
                            <a:srgbClr val="FFFFFF"/>
                          </a:solidFill>
                          <a:latin typeface="Times New Roman"/>
                          <a:cs typeface="Times New Roman"/>
                        </a:rPr>
                        <a:t>Ödemeli)</a:t>
                      </a:r>
                      <a:endParaRPr sz="1600" dirty="0">
                        <a:latin typeface="Times New Roman"/>
                        <a:cs typeface="Times New Roman"/>
                      </a:endParaRPr>
                    </a:p>
                  </a:txBody>
                  <a:tcPr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F81BC"/>
                    </a:solidFill>
                  </a:tcPr>
                </a:tc>
                <a:tc>
                  <a:txBody>
                    <a:bodyPr/>
                    <a:lstStyle/>
                    <a:p>
                      <a:pPr algn="ctr">
                        <a:lnSpc>
                          <a:spcPct val="100000"/>
                        </a:lnSpc>
                        <a:spcBef>
                          <a:spcPts val="40"/>
                        </a:spcBef>
                      </a:pPr>
                      <a:endParaRPr sz="1600" dirty="0">
                        <a:latin typeface="Times New Roman"/>
                        <a:cs typeface="Times New Roman"/>
                      </a:endParaRPr>
                    </a:p>
                    <a:p>
                      <a:pPr algn="ctr">
                        <a:lnSpc>
                          <a:spcPct val="100000"/>
                        </a:lnSpc>
                      </a:pPr>
                      <a:r>
                        <a:rPr sz="1600" spc="-5" dirty="0">
                          <a:latin typeface="Times New Roman"/>
                          <a:cs typeface="Times New Roman"/>
                        </a:rPr>
                        <a:t>400.000</a:t>
                      </a:r>
                      <a:endParaRPr sz="1600" dirty="0">
                        <a:latin typeface="Times New Roman"/>
                        <a:cs typeface="Times New Roman"/>
                      </a:endParaRPr>
                    </a:p>
                  </a:txBody>
                  <a:tcPr marL="0" marR="0" marT="508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40"/>
                        </a:spcBef>
                      </a:pPr>
                      <a:endParaRPr sz="1600" dirty="0">
                        <a:latin typeface="Times New Roman"/>
                        <a:cs typeface="Times New Roman"/>
                      </a:endParaRPr>
                    </a:p>
                    <a:p>
                      <a:pPr algn="ctr">
                        <a:lnSpc>
                          <a:spcPct val="100000"/>
                        </a:lnSpc>
                      </a:pPr>
                      <a:r>
                        <a:rPr sz="1600" spc="-5" dirty="0">
                          <a:latin typeface="Times New Roman"/>
                          <a:cs typeface="Times New Roman"/>
                        </a:rPr>
                        <a:t>3.000.000</a:t>
                      </a:r>
                      <a:endParaRPr sz="1600" dirty="0">
                        <a:latin typeface="Times New Roman"/>
                        <a:cs typeface="Times New Roman"/>
                      </a:endParaRPr>
                    </a:p>
                  </a:txBody>
                  <a:tcPr marL="0" marR="0" marT="508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40"/>
                        </a:spcBef>
                      </a:pPr>
                      <a:endParaRPr sz="1600" dirty="0">
                        <a:latin typeface="Times New Roman"/>
                        <a:cs typeface="Times New Roman"/>
                      </a:endParaRPr>
                    </a:p>
                    <a:p>
                      <a:pPr marL="3175" algn="ctr">
                        <a:lnSpc>
                          <a:spcPct val="100000"/>
                        </a:lnSpc>
                      </a:pPr>
                      <a:r>
                        <a:rPr sz="1600" spc="-5" dirty="0">
                          <a:latin typeface="Times New Roman"/>
                          <a:cs typeface="Times New Roman"/>
                        </a:rPr>
                        <a:t>75</a:t>
                      </a:r>
                      <a:endParaRPr sz="1600" dirty="0">
                        <a:latin typeface="Times New Roman"/>
                        <a:cs typeface="Times New Roman"/>
                      </a:endParaRPr>
                    </a:p>
                  </a:txBody>
                  <a:tcPr marL="0" marR="0" marT="508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extLst>
                  <a:ext uri="{0D108BD9-81ED-4DB2-BD59-A6C34878D82A}">
                    <a16:rowId xmlns:a16="http://schemas.microsoft.com/office/drawing/2014/main" val="4210779453"/>
                  </a:ext>
                </a:extLst>
              </a:tr>
              <a:tr h="480226">
                <a:tc>
                  <a:txBody>
                    <a:bodyPr/>
                    <a:lstStyle/>
                    <a:p>
                      <a:pPr marL="0" lvl="0" indent="0" algn="l">
                        <a:lnSpc>
                          <a:spcPct val="100000"/>
                        </a:lnSpc>
                      </a:pPr>
                      <a:r>
                        <a:rPr sz="1600" b="1" spc="-10" dirty="0" err="1" smtClean="0">
                          <a:solidFill>
                            <a:srgbClr val="FFFFFF"/>
                          </a:solidFill>
                          <a:latin typeface="Times New Roman"/>
                          <a:cs typeface="Times New Roman"/>
                        </a:rPr>
                        <a:t>Nitelikli</a:t>
                      </a:r>
                      <a:r>
                        <a:rPr sz="1600" b="1" spc="-10" dirty="0" smtClean="0">
                          <a:solidFill>
                            <a:srgbClr val="FFFFFF"/>
                          </a:solidFill>
                          <a:latin typeface="Times New Roman"/>
                          <a:cs typeface="Times New Roman"/>
                        </a:rPr>
                        <a:t> </a:t>
                      </a:r>
                      <a:r>
                        <a:rPr sz="1600" b="1" spc="-5" dirty="0">
                          <a:solidFill>
                            <a:srgbClr val="FFFFFF"/>
                          </a:solidFill>
                          <a:latin typeface="Times New Roman"/>
                          <a:cs typeface="Times New Roman"/>
                        </a:rPr>
                        <a:t>Personel Giderleri</a:t>
                      </a:r>
                      <a:r>
                        <a:rPr sz="1600" b="1" spc="114" dirty="0">
                          <a:solidFill>
                            <a:srgbClr val="FFFFFF"/>
                          </a:solidFill>
                          <a:latin typeface="Times New Roman"/>
                          <a:cs typeface="Times New Roman"/>
                        </a:rPr>
                        <a:t> </a:t>
                      </a:r>
                      <a:r>
                        <a:rPr sz="1600" b="1" spc="-10" dirty="0">
                          <a:solidFill>
                            <a:srgbClr val="FFFFFF"/>
                          </a:solidFill>
                          <a:latin typeface="Times New Roman"/>
                          <a:cs typeface="Times New Roman"/>
                        </a:rPr>
                        <a:t>Desteği</a:t>
                      </a:r>
                      <a:endParaRPr sz="1600" dirty="0">
                        <a:latin typeface="Times New Roman"/>
                        <a:cs typeface="Times New Roman"/>
                      </a:endParaRPr>
                    </a:p>
                  </a:txBody>
                  <a:tcPr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F81BC"/>
                    </a:solidFill>
                  </a:tcPr>
                </a:tc>
                <a:tc>
                  <a:txBody>
                    <a:bodyPr/>
                    <a:lstStyle/>
                    <a:p>
                      <a:pPr algn="ctr">
                        <a:lnSpc>
                          <a:spcPct val="100000"/>
                        </a:lnSpc>
                        <a:spcBef>
                          <a:spcPts val="35"/>
                        </a:spcBef>
                      </a:pPr>
                      <a:endParaRPr sz="1600" dirty="0">
                        <a:latin typeface="Times New Roman"/>
                        <a:cs typeface="Times New Roman"/>
                      </a:endParaRPr>
                    </a:p>
                    <a:p>
                      <a:pPr algn="ctr">
                        <a:lnSpc>
                          <a:spcPct val="100000"/>
                        </a:lnSpc>
                      </a:pPr>
                      <a:r>
                        <a:rPr sz="1600" spc="-5" dirty="0">
                          <a:latin typeface="Times New Roman"/>
                          <a:cs typeface="Times New Roman"/>
                        </a:rPr>
                        <a:t>300.000</a:t>
                      </a:r>
                      <a:endParaRPr sz="1600" dirty="0">
                        <a:latin typeface="Times New Roman"/>
                        <a:cs typeface="Times New Roman"/>
                      </a:endParaRPr>
                    </a:p>
                  </a:txBody>
                  <a:tcPr marL="0" marR="0" marT="444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35"/>
                        </a:spcBef>
                      </a:pPr>
                      <a:endParaRPr sz="1600" dirty="0">
                        <a:latin typeface="Times New Roman"/>
                        <a:cs typeface="Times New Roman"/>
                      </a:endParaRPr>
                    </a:p>
                    <a:p>
                      <a:pPr algn="ctr">
                        <a:lnSpc>
                          <a:spcPct val="100000"/>
                        </a:lnSpc>
                      </a:pPr>
                      <a:r>
                        <a:rPr sz="1600" spc="-5" dirty="0">
                          <a:latin typeface="Times New Roman"/>
                          <a:cs typeface="Times New Roman"/>
                        </a:rPr>
                        <a:t>500.000</a:t>
                      </a:r>
                      <a:endParaRPr sz="1600" dirty="0">
                        <a:latin typeface="Times New Roman"/>
                        <a:cs typeface="Times New Roman"/>
                      </a:endParaRPr>
                    </a:p>
                  </a:txBody>
                  <a:tcPr marL="0" marR="0" marT="444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35"/>
                        </a:spcBef>
                      </a:pPr>
                      <a:endParaRPr sz="1600" dirty="0">
                        <a:latin typeface="Times New Roman"/>
                        <a:cs typeface="Times New Roman"/>
                      </a:endParaRPr>
                    </a:p>
                    <a:p>
                      <a:pPr marL="1270" algn="ctr">
                        <a:lnSpc>
                          <a:spcPct val="100000"/>
                        </a:lnSpc>
                      </a:pPr>
                      <a:r>
                        <a:rPr sz="1600" spc="-5" dirty="0">
                          <a:latin typeface="Times New Roman"/>
                          <a:cs typeface="Times New Roman"/>
                        </a:rPr>
                        <a:t>100</a:t>
                      </a:r>
                      <a:endParaRPr sz="1600" dirty="0">
                        <a:latin typeface="Times New Roman"/>
                        <a:cs typeface="Times New Roman"/>
                      </a:endParaRPr>
                    </a:p>
                  </a:txBody>
                  <a:tcPr marL="0" marR="0" marT="444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472576576"/>
                  </a:ext>
                </a:extLst>
              </a:tr>
              <a:tr h="480226">
                <a:tc>
                  <a:txBody>
                    <a:bodyPr/>
                    <a:lstStyle/>
                    <a:p>
                      <a:pPr marL="0" lvl="0" indent="0" algn="l">
                        <a:lnSpc>
                          <a:spcPct val="100000"/>
                        </a:lnSpc>
                      </a:pPr>
                      <a:r>
                        <a:rPr sz="1600" b="1" spc="-5" dirty="0" smtClean="0">
                          <a:solidFill>
                            <a:srgbClr val="FFFFFF"/>
                          </a:solidFill>
                          <a:latin typeface="Times New Roman"/>
                          <a:cs typeface="Times New Roman"/>
                        </a:rPr>
                        <a:t>Sınai </a:t>
                      </a:r>
                      <a:r>
                        <a:rPr sz="1600" b="1" spc="-5" dirty="0">
                          <a:solidFill>
                            <a:srgbClr val="FFFFFF"/>
                          </a:solidFill>
                          <a:latin typeface="Times New Roman"/>
                          <a:cs typeface="Times New Roman"/>
                        </a:rPr>
                        <a:t>Mülkiyet Hakları Giderleri</a:t>
                      </a:r>
                      <a:r>
                        <a:rPr sz="1600" b="1" spc="75" dirty="0">
                          <a:solidFill>
                            <a:srgbClr val="FFFFFF"/>
                          </a:solidFill>
                          <a:latin typeface="Times New Roman"/>
                          <a:cs typeface="Times New Roman"/>
                        </a:rPr>
                        <a:t> </a:t>
                      </a:r>
                      <a:r>
                        <a:rPr sz="1600" b="1" spc="-5" dirty="0">
                          <a:solidFill>
                            <a:srgbClr val="FFFFFF"/>
                          </a:solidFill>
                          <a:latin typeface="Times New Roman"/>
                          <a:cs typeface="Times New Roman"/>
                        </a:rPr>
                        <a:t>Desteği</a:t>
                      </a:r>
                      <a:endParaRPr sz="1600" dirty="0">
                        <a:latin typeface="Times New Roman"/>
                        <a:cs typeface="Times New Roman"/>
                      </a:endParaRPr>
                    </a:p>
                  </a:txBody>
                  <a:tcPr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F81BC"/>
                    </a:solidFill>
                  </a:tcPr>
                </a:tc>
                <a:tc>
                  <a:txBody>
                    <a:bodyPr/>
                    <a:lstStyle/>
                    <a:p>
                      <a:pPr algn="ctr">
                        <a:lnSpc>
                          <a:spcPct val="100000"/>
                        </a:lnSpc>
                        <a:spcBef>
                          <a:spcPts val="35"/>
                        </a:spcBef>
                      </a:pPr>
                      <a:endParaRPr sz="1600" dirty="0">
                        <a:latin typeface="Times New Roman"/>
                        <a:cs typeface="Times New Roman"/>
                      </a:endParaRPr>
                    </a:p>
                    <a:p>
                      <a:pPr algn="ctr">
                        <a:lnSpc>
                          <a:spcPct val="100000"/>
                        </a:lnSpc>
                      </a:pPr>
                      <a:r>
                        <a:rPr sz="1600" spc="-5" dirty="0">
                          <a:latin typeface="Times New Roman"/>
                          <a:cs typeface="Times New Roman"/>
                        </a:rPr>
                        <a:t>150.000</a:t>
                      </a:r>
                      <a:endParaRPr sz="1600" dirty="0">
                        <a:latin typeface="Times New Roman"/>
                        <a:cs typeface="Times New Roman"/>
                      </a:endParaRPr>
                    </a:p>
                  </a:txBody>
                  <a:tcPr marL="0" marR="0" marT="444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35"/>
                        </a:spcBef>
                      </a:pPr>
                      <a:endParaRPr sz="1600" dirty="0">
                        <a:latin typeface="Times New Roman"/>
                        <a:cs typeface="Times New Roman"/>
                      </a:endParaRPr>
                    </a:p>
                    <a:p>
                      <a:pPr algn="ctr">
                        <a:lnSpc>
                          <a:spcPct val="100000"/>
                        </a:lnSpc>
                      </a:pPr>
                      <a:r>
                        <a:rPr sz="1600" spc="-5" dirty="0">
                          <a:latin typeface="Times New Roman"/>
                          <a:cs typeface="Times New Roman"/>
                        </a:rPr>
                        <a:t>200.000</a:t>
                      </a:r>
                      <a:endParaRPr sz="1600" dirty="0">
                        <a:latin typeface="Times New Roman"/>
                        <a:cs typeface="Times New Roman"/>
                      </a:endParaRPr>
                    </a:p>
                  </a:txBody>
                  <a:tcPr marL="0" marR="0" marT="444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algn="ctr">
                        <a:lnSpc>
                          <a:spcPct val="100000"/>
                        </a:lnSpc>
                        <a:spcBef>
                          <a:spcPts val="35"/>
                        </a:spcBef>
                      </a:pPr>
                      <a:endParaRPr sz="1600" dirty="0">
                        <a:latin typeface="Times New Roman"/>
                        <a:cs typeface="Times New Roman"/>
                      </a:endParaRPr>
                    </a:p>
                    <a:p>
                      <a:pPr marL="3175" algn="ctr">
                        <a:lnSpc>
                          <a:spcPct val="100000"/>
                        </a:lnSpc>
                      </a:pPr>
                      <a:r>
                        <a:rPr sz="1600" spc="-5" dirty="0">
                          <a:latin typeface="Times New Roman"/>
                          <a:cs typeface="Times New Roman"/>
                        </a:rPr>
                        <a:t>75</a:t>
                      </a:r>
                      <a:endParaRPr sz="1600" dirty="0">
                        <a:latin typeface="Times New Roman"/>
                        <a:cs typeface="Times New Roman"/>
                      </a:endParaRPr>
                    </a:p>
                  </a:txBody>
                  <a:tcPr marL="0" marR="0" marT="444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extLst>
                  <a:ext uri="{0D108BD9-81ED-4DB2-BD59-A6C34878D82A}">
                    <a16:rowId xmlns:a16="http://schemas.microsoft.com/office/drawing/2014/main" val="2521667641"/>
                  </a:ext>
                </a:extLst>
              </a:tr>
              <a:tr h="481465">
                <a:tc>
                  <a:txBody>
                    <a:bodyPr/>
                    <a:lstStyle/>
                    <a:p>
                      <a:pPr marL="0" marR="266700" lvl="0" indent="0" algn="l">
                        <a:lnSpc>
                          <a:spcPct val="100000"/>
                        </a:lnSpc>
                        <a:spcBef>
                          <a:spcPts val="1215"/>
                        </a:spcBef>
                      </a:pPr>
                      <a:r>
                        <a:rPr sz="1600" b="1" spc="-35" dirty="0">
                          <a:solidFill>
                            <a:srgbClr val="FFFFFF"/>
                          </a:solidFill>
                          <a:latin typeface="Times New Roman"/>
                          <a:cs typeface="Times New Roman"/>
                        </a:rPr>
                        <a:t>Test, </a:t>
                      </a:r>
                      <a:r>
                        <a:rPr sz="1600" b="1" spc="-5" dirty="0">
                          <a:solidFill>
                            <a:srgbClr val="FFFFFF"/>
                          </a:solidFill>
                          <a:latin typeface="Times New Roman"/>
                          <a:cs typeface="Times New Roman"/>
                        </a:rPr>
                        <a:t>Analiz ve Belgelendirme Giderleri  </a:t>
                      </a:r>
                      <a:r>
                        <a:rPr sz="1600" b="1" spc="-10" dirty="0">
                          <a:solidFill>
                            <a:srgbClr val="FFFFFF"/>
                          </a:solidFill>
                          <a:latin typeface="Times New Roman"/>
                          <a:cs typeface="Times New Roman"/>
                        </a:rPr>
                        <a:t>Desteği</a:t>
                      </a:r>
                      <a:endParaRPr sz="1600" dirty="0">
                        <a:latin typeface="Times New Roman"/>
                        <a:cs typeface="Times New Roman"/>
                      </a:endParaRPr>
                    </a:p>
                  </a:txBody>
                  <a:tcPr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F81BC"/>
                    </a:solidFill>
                  </a:tcPr>
                </a:tc>
                <a:tc>
                  <a:txBody>
                    <a:bodyPr/>
                    <a:lstStyle/>
                    <a:p>
                      <a:pPr algn="ctr">
                        <a:lnSpc>
                          <a:spcPct val="100000"/>
                        </a:lnSpc>
                        <a:spcBef>
                          <a:spcPts val="45"/>
                        </a:spcBef>
                      </a:pPr>
                      <a:endParaRPr sz="1600">
                        <a:latin typeface="Times New Roman"/>
                        <a:cs typeface="Times New Roman"/>
                      </a:endParaRPr>
                    </a:p>
                    <a:p>
                      <a:pPr algn="ctr">
                        <a:lnSpc>
                          <a:spcPct val="100000"/>
                        </a:lnSpc>
                        <a:spcBef>
                          <a:spcPts val="5"/>
                        </a:spcBef>
                      </a:pPr>
                      <a:r>
                        <a:rPr sz="1600" spc="-5" dirty="0">
                          <a:latin typeface="Times New Roman"/>
                          <a:cs typeface="Times New Roman"/>
                        </a:rPr>
                        <a:t>150.000</a:t>
                      </a:r>
                      <a:endParaRPr sz="1600">
                        <a:latin typeface="Times New Roman"/>
                        <a:cs typeface="Times New Roman"/>
                      </a:endParaRPr>
                    </a:p>
                  </a:txBody>
                  <a:tcPr marL="0" marR="0" marT="571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45"/>
                        </a:spcBef>
                      </a:pPr>
                      <a:endParaRPr sz="1600" dirty="0">
                        <a:latin typeface="Times New Roman"/>
                        <a:cs typeface="Times New Roman"/>
                      </a:endParaRPr>
                    </a:p>
                    <a:p>
                      <a:pPr algn="ctr">
                        <a:lnSpc>
                          <a:spcPct val="100000"/>
                        </a:lnSpc>
                        <a:spcBef>
                          <a:spcPts val="5"/>
                        </a:spcBef>
                      </a:pPr>
                      <a:r>
                        <a:rPr sz="1600" spc="-5" dirty="0">
                          <a:latin typeface="Times New Roman"/>
                          <a:cs typeface="Times New Roman"/>
                        </a:rPr>
                        <a:t>200.000</a:t>
                      </a:r>
                      <a:endParaRPr sz="1600" dirty="0">
                        <a:latin typeface="Times New Roman"/>
                        <a:cs typeface="Times New Roman"/>
                      </a:endParaRPr>
                    </a:p>
                  </a:txBody>
                  <a:tcPr marL="0" marR="0" marT="571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algn="ctr">
                        <a:lnSpc>
                          <a:spcPct val="100000"/>
                        </a:lnSpc>
                        <a:spcBef>
                          <a:spcPts val="45"/>
                        </a:spcBef>
                      </a:pPr>
                      <a:endParaRPr sz="1600" dirty="0">
                        <a:latin typeface="Times New Roman"/>
                        <a:cs typeface="Times New Roman"/>
                      </a:endParaRPr>
                    </a:p>
                    <a:p>
                      <a:pPr marL="3175" algn="ctr">
                        <a:lnSpc>
                          <a:spcPct val="100000"/>
                        </a:lnSpc>
                        <a:spcBef>
                          <a:spcPts val="5"/>
                        </a:spcBef>
                      </a:pPr>
                      <a:r>
                        <a:rPr sz="1600" spc="-5" dirty="0">
                          <a:latin typeface="Times New Roman"/>
                          <a:cs typeface="Times New Roman"/>
                        </a:rPr>
                        <a:t>75</a:t>
                      </a:r>
                      <a:endParaRPr sz="1600" dirty="0">
                        <a:latin typeface="Times New Roman"/>
                        <a:cs typeface="Times New Roman"/>
                      </a:endParaRPr>
                    </a:p>
                  </a:txBody>
                  <a:tcPr marL="0" marR="0" marT="571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1132573144"/>
                  </a:ext>
                </a:extLst>
              </a:tr>
              <a:tr h="475888">
                <a:tc>
                  <a:txBody>
                    <a:bodyPr/>
                    <a:lstStyle/>
                    <a:p>
                      <a:pPr marL="0" lvl="0" indent="0" algn="l">
                        <a:lnSpc>
                          <a:spcPct val="100000"/>
                        </a:lnSpc>
                      </a:pPr>
                      <a:r>
                        <a:rPr sz="1600" b="1" spc="-5" dirty="0" err="1" smtClean="0">
                          <a:solidFill>
                            <a:srgbClr val="FFFFFF"/>
                          </a:solidFill>
                          <a:latin typeface="Times New Roman"/>
                          <a:cs typeface="Times New Roman"/>
                        </a:rPr>
                        <a:t>Diğer</a:t>
                      </a:r>
                      <a:r>
                        <a:rPr sz="1600" b="1" spc="-5" dirty="0" smtClean="0">
                          <a:solidFill>
                            <a:srgbClr val="FFFFFF"/>
                          </a:solidFill>
                          <a:latin typeface="Times New Roman"/>
                          <a:cs typeface="Times New Roman"/>
                        </a:rPr>
                        <a:t> </a:t>
                      </a:r>
                      <a:r>
                        <a:rPr sz="1600" b="1" spc="-5" dirty="0">
                          <a:solidFill>
                            <a:srgbClr val="FFFFFF"/>
                          </a:solidFill>
                          <a:latin typeface="Times New Roman"/>
                          <a:cs typeface="Times New Roman"/>
                        </a:rPr>
                        <a:t>Giderler</a:t>
                      </a:r>
                      <a:r>
                        <a:rPr sz="1600" b="1" spc="-70" dirty="0">
                          <a:solidFill>
                            <a:srgbClr val="FFFFFF"/>
                          </a:solidFill>
                          <a:latin typeface="Times New Roman"/>
                          <a:cs typeface="Times New Roman"/>
                        </a:rPr>
                        <a:t> </a:t>
                      </a:r>
                      <a:r>
                        <a:rPr sz="1600" b="1" spc="-10" dirty="0">
                          <a:solidFill>
                            <a:srgbClr val="FFFFFF"/>
                          </a:solidFill>
                          <a:latin typeface="Times New Roman"/>
                          <a:cs typeface="Times New Roman"/>
                        </a:rPr>
                        <a:t>Desteği</a:t>
                      </a:r>
                      <a:endParaRPr sz="1600" dirty="0">
                        <a:latin typeface="Times New Roman"/>
                        <a:cs typeface="Times New Roman"/>
                      </a:endParaRPr>
                    </a:p>
                  </a:txBody>
                  <a:tcPr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4F81BC"/>
                    </a:solidFill>
                  </a:tcPr>
                </a:tc>
                <a:tc>
                  <a:txBody>
                    <a:bodyPr/>
                    <a:lstStyle/>
                    <a:p>
                      <a:pPr algn="ctr">
                        <a:lnSpc>
                          <a:spcPct val="100000"/>
                        </a:lnSpc>
                      </a:pPr>
                      <a:endParaRPr sz="1600" dirty="0">
                        <a:latin typeface="Times New Roman"/>
                        <a:cs typeface="Times New Roman"/>
                      </a:endParaRPr>
                    </a:p>
                    <a:p>
                      <a:pPr algn="ctr">
                        <a:lnSpc>
                          <a:spcPct val="100000"/>
                        </a:lnSpc>
                      </a:pPr>
                      <a:r>
                        <a:rPr sz="1600" spc="-5" dirty="0">
                          <a:latin typeface="Times New Roman"/>
                          <a:cs typeface="Times New Roman"/>
                        </a:rPr>
                        <a:t>100.000</a:t>
                      </a:r>
                      <a:endParaRPr sz="16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9ECF4"/>
                    </a:solidFill>
                  </a:tcPr>
                </a:tc>
                <a:tc>
                  <a:txBody>
                    <a:bodyPr/>
                    <a:lstStyle/>
                    <a:p>
                      <a:pPr algn="ctr">
                        <a:lnSpc>
                          <a:spcPct val="100000"/>
                        </a:lnSpc>
                      </a:pPr>
                      <a:endParaRPr sz="1600" dirty="0">
                        <a:latin typeface="Times New Roman"/>
                        <a:cs typeface="Times New Roman"/>
                      </a:endParaRPr>
                    </a:p>
                    <a:p>
                      <a:pPr algn="ctr">
                        <a:lnSpc>
                          <a:spcPct val="100000"/>
                        </a:lnSpc>
                      </a:pPr>
                      <a:r>
                        <a:rPr sz="1600" spc="-5" dirty="0">
                          <a:latin typeface="Times New Roman"/>
                          <a:cs typeface="Times New Roman"/>
                        </a:rPr>
                        <a:t>100.000</a:t>
                      </a:r>
                      <a:endParaRPr sz="16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9ECF4"/>
                    </a:solidFill>
                  </a:tcPr>
                </a:tc>
                <a:tc>
                  <a:txBody>
                    <a:bodyPr/>
                    <a:lstStyle/>
                    <a:p>
                      <a:pPr algn="ctr">
                        <a:lnSpc>
                          <a:spcPct val="100000"/>
                        </a:lnSpc>
                      </a:pPr>
                      <a:endParaRPr sz="1600" dirty="0">
                        <a:latin typeface="Times New Roman"/>
                        <a:cs typeface="Times New Roman"/>
                      </a:endParaRPr>
                    </a:p>
                    <a:p>
                      <a:pPr marL="3175" algn="ctr">
                        <a:lnSpc>
                          <a:spcPct val="100000"/>
                        </a:lnSpc>
                      </a:pPr>
                      <a:r>
                        <a:rPr sz="1600" spc="-5" dirty="0">
                          <a:latin typeface="Times New Roman"/>
                          <a:cs typeface="Times New Roman"/>
                        </a:rPr>
                        <a:t>75</a:t>
                      </a:r>
                      <a:endParaRPr sz="16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9ECF4"/>
                    </a:solidFill>
                  </a:tcPr>
                </a:tc>
                <a:extLst>
                  <a:ext uri="{0D108BD9-81ED-4DB2-BD59-A6C34878D82A}">
                    <a16:rowId xmlns:a16="http://schemas.microsoft.com/office/drawing/2014/main" val="2461433411"/>
                  </a:ext>
                </a:extLst>
              </a:tr>
              <a:tr h="297430">
                <a:tc>
                  <a:txBody>
                    <a:bodyPr/>
                    <a:lstStyle/>
                    <a:p>
                      <a:pPr marL="457200" lvl="1" indent="0" algn="l" defTabSz="914400" rtl="0" eaLnBrk="1" latinLnBrk="0" hangingPunct="1">
                        <a:lnSpc>
                          <a:spcPct val="100000"/>
                        </a:lnSpc>
                      </a:pPr>
                      <a:r>
                        <a:rPr lang="tr-TR" sz="1400" b="1" i="1" kern="1200" spc="-5" dirty="0" smtClean="0">
                          <a:solidFill>
                            <a:srgbClr val="FFFFFF"/>
                          </a:solidFill>
                          <a:latin typeface="Times New Roman"/>
                          <a:ea typeface="+mn-ea"/>
                          <a:cs typeface="Times New Roman"/>
                        </a:rPr>
                        <a:t>Proje Danışmanlık Desteği </a:t>
                      </a:r>
                      <a:endParaRPr sz="1400" b="1" i="1" kern="1200" spc="-5" dirty="0">
                        <a:solidFill>
                          <a:srgbClr val="FFFFFF"/>
                        </a:solidFill>
                        <a:latin typeface="Times New Roman"/>
                        <a:ea typeface="+mn-ea"/>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C"/>
                    </a:solidFill>
                  </a:tcPr>
                </a:tc>
                <a:tc>
                  <a:txBody>
                    <a:bodyPr/>
                    <a:lstStyle/>
                    <a:p>
                      <a:pPr algn="ctr">
                        <a:lnSpc>
                          <a:spcPct val="100000"/>
                        </a:lnSpc>
                      </a:pPr>
                      <a:r>
                        <a:rPr lang="tr-TR" sz="1400" i="1" dirty="0" smtClean="0">
                          <a:latin typeface="Times New Roman"/>
                          <a:cs typeface="Times New Roman"/>
                        </a:rPr>
                        <a:t>4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CF4"/>
                    </a:solidFill>
                  </a:tcPr>
                </a:tc>
                <a:tc>
                  <a:txBody>
                    <a:bodyPr/>
                    <a:lstStyle/>
                    <a:p>
                      <a:pPr algn="ctr">
                        <a:lnSpc>
                          <a:spcPct val="100000"/>
                        </a:lnSpc>
                      </a:pPr>
                      <a:r>
                        <a:rPr lang="tr-TR" sz="1400" i="1" dirty="0" smtClean="0">
                          <a:latin typeface="Times New Roman"/>
                          <a:cs typeface="Times New Roman"/>
                        </a:rPr>
                        <a:t>4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CF4"/>
                    </a:solidFill>
                  </a:tcPr>
                </a:tc>
                <a:tc>
                  <a:txBody>
                    <a:bodyPr/>
                    <a:lstStyle/>
                    <a:p>
                      <a:pPr marL="3175"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1" u="none" strike="noStrike" kern="1200" cap="none" spc="-5" normalizeH="0" baseline="0" noProof="0" smtClean="0">
                          <a:ln>
                            <a:noFill/>
                          </a:ln>
                          <a:solidFill>
                            <a:prstClr val="black"/>
                          </a:solidFill>
                          <a:effectLst/>
                          <a:uLnTx/>
                          <a:uFillTx/>
                          <a:latin typeface="Times New Roman"/>
                          <a:ea typeface="+mn-ea"/>
                          <a:cs typeface="Times New Roman"/>
                        </a:rPr>
                        <a:t>75</a:t>
                      </a:r>
                      <a:endParaRPr kumimoji="0" lang="tr-TR" sz="1400" b="0" i="1" u="none" strike="noStrike" kern="1200" cap="none" spc="0" normalizeH="0" baseline="0" noProof="0" dirty="0">
                        <a:ln>
                          <a:noFill/>
                        </a:ln>
                        <a:solidFill>
                          <a:prstClr val="black"/>
                        </a:solidFill>
                        <a:effectLst/>
                        <a:uLnTx/>
                        <a:uFillTx/>
                        <a:latin typeface="Times New Roman"/>
                        <a:ea typeface="+mn-ea"/>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CF4"/>
                    </a:solidFill>
                  </a:tcPr>
                </a:tc>
                <a:extLst>
                  <a:ext uri="{0D108BD9-81ED-4DB2-BD59-A6C34878D82A}">
                    <a16:rowId xmlns:a16="http://schemas.microsoft.com/office/drawing/2014/main" val="2188343801"/>
                  </a:ext>
                </a:extLst>
              </a:tr>
              <a:tr h="297430">
                <a:tc>
                  <a:txBody>
                    <a:bodyPr/>
                    <a:lstStyle/>
                    <a:p>
                      <a:pPr marL="457200" lvl="1" indent="0" algn="l" defTabSz="914400" rtl="0" eaLnBrk="1" latinLnBrk="0" hangingPunct="1">
                        <a:lnSpc>
                          <a:spcPct val="100000"/>
                        </a:lnSpc>
                      </a:pPr>
                      <a:r>
                        <a:rPr lang="tr-TR" sz="1400" b="1" i="1" kern="1200" spc="-5" dirty="0" smtClean="0">
                          <a:solidFill>
                            <a:srgbClr val="FFFFFF"/>
                          </a:solidFill>
                          <a:latin typeface="Times New Roman"/>
                          <a:ea typeface="+mn-ea"/>
                          <a:cs typeface="Times New Roman"/>
                        </a:rPr>
                        <a:t>Eğitim Desteği </a:t>
                      </a:r>
                      <a:endParaRPr sz="1400" b="1" i="1" kern="1200" spc="-5" dirty="0">
                        <a:solidFill>
                          <a:srgbClr val="FFFFFF"/>
                        </a:solidFill>
                        <a:latin typeface="Times New Roman"/>
                        <a:ea typeface="+mn-ea"/>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81BC"/>
                    </a:solidFill>
                  </a:tcPr>
                </a:tc>
                <a:tc>
                  <a:txBody>
                    <a:bodyPr/>
                    <a:lstStyle/>
                    <a:p>
                      <a:pPr algn="ctr">
                        <a:lnSpc>
                          <a:spcPct val="100000"/>
                        </a:lnSpc>
                      </a:pPr>
                      <a:r>
                        <a:rPr lang="tr-TR" sz="1400" i="1" dirty="0" smtClean="0">
                          <a:latin typeface="Times New Roman"/>
                          <a:cs typeface="Times New Roman"/>
                        </a:rPr>
                        <a:t>4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CF4"/>
                    </a:solidFill>
                  </a:tcPr>
                </a:tc>
                <a:tc>
                  <a:txBody>
                    <a:bodyPr/>
                    <a:lstStyle/>
                    <a:p>
                      <a:pPr algn="ctr">
                        <a:lnSpc>
                          <a:spcPct val="100000"/>
                        </a:lnSpc>
                      </a:pPr>
                      <a:r>
                        <a:rPr lang="tr-TR" sz="1400" i="1" dirty="0" smtClean="0">
                          <a:latin typeface="Times New Roman"/>
                          <a:cs typeface="Times New Roman"/>
                        </a:rPr>
                        <a:t>4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CF4"/>
                    </a:solidFill>
                  </a:tcPr>
                </a:tc>
                <a:tc>
                  <a:txBody>
                    <a:bodyPr/>
                    <a:lstStyle/>
                    <a:p>
                      <a:pPr marL="3175"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1" u="none" strike="noStrike" kern="1200" cap="none" spc="-5" normalizeH="0" baseline="0" noProof="0" smtClean="0">
                          <a:ln>
                            <a:noFill/>
                          </a:ln>
                          <a:solidFill>
                            <a:prstClr val="black"/>
                          </a:solidFill>
                          <a:effectLst/>
                          <a:uLnTx/>
                          <a:uFillTx/>
                          <a:latin typeface="Times New Roman"/>
                          <a:ea typeface="+mn-ea"/>
                          <a:cs typeface="Times New Roman"/>
                        </a:rPr>
                        <a:t>75</a:t>
                      </a:r>
                      <a:endParaRPr kumimoji="0" lang="tr-TR" sz="1400" b="0" i="1" u="none" strike="noStrike" kern="1200" cap="none" spc="0" normalizeH="0" baseline="0" noProof="0" dirty="0">
                        <a:ln>
                          <a:noFill/>
                        </a:ln>
                        <a:solidFill>
                          <a:prstClr val="black"/>
                        </a:solidFill>
                        <a:effectLst/>
                        <a:uLnTx/>
                        <a:uFillTx/>
                        <a:latin typeface="Times New Roman"/>
                        <a:ea typeface="+mn-ea"/>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CF4"/>
                    </a:solidFill>
                  </a:tcPr>
                </a:tc>
                <a:extLst>
                  <a:ext uri="{0D108BD9-81ED-4DB2-BD59-A6C34878D82A}">
                    <a16:rowId xmlns:a16="http://schemas.microsoft.com/office/drawing/2014/main" val="3498959164"/>
                  </a:ext>
                </a:extLst>
              </a:tr>
              <a:tr h="297430">
                <a:tc>
                  <a:txBody>
                    <a:bodyPr/>
                    <a:lstStyle/>
                    <a:p>
                      <a:pPr marL="457200" lvl="1" indent="0" algn="l" defTabSz="914400" rtl="0" eaLnBrk="1" latinLnBrk="0" hangingPunct="1">
                        <a:lnSpc>
                          <a:spcPct val="100000"/>
                        </a:lnSpc>
                      </a:pPr>
                      <a:r>
                        <a:rPr lang="tr-TR" sz="1400" b="1" i="1" kern="1200" spc="-5" dirty="0" smtClean="0">
                          <a:solidFill>
                            <a:srgbClr val="FFFFFF"/>
                          </a:solidFill>
                          <a:latin typeface="Times New Roman"/>
                          <a:ea typeface="+mn-ea"/>
                          <a:cs typeface="Times New Roman"/>
                        </a:rPr>
                        <a:t>Proje Tanıtım Desteği</a:t>
                      </a:r>
                      <a:endParaRPr sz="1400" b="1" i="1" kern="1200" spc="-5" dirty="0">
                        <a:solidFill>
                          <a:srgbClr val="FFFFFF"/>
                        </a:solidFill>
                        <a:latin typeface="Times New Roman"/>
                        <a:ea typeface="+mn-ea"/>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4F81BC"/>
                    </a:solidFill>
                  </a:tcPr>
                </a:tc>
                <a:tc>
                  <a:txBody>
                    <a:bodyPr/>
                    <a:lstStyle/>
                    <a:p>
                      <a:pPr algn="ctr">
                        <a:lnSpc>
                          <a:spcPct val="100000"/>
                        </a:lnSpc>
                      </a:pPr>
                      <a:r>
                        <a:rPr lang="tr-TR" sz="1400" i="1" dirty="0" smtClean="0">
                          <a:latin typeface="Times New Roman"/>
                          <a:cs typeface="Times New Roman"/>
                        </a:rPr>
                        <a:t>3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CF4"/>
                    </a:solidFill>
                  </a:tcPr>
                </a:tc>
                <a:tc>
                  <a:txBody>
                    <a:bodyPr/>
                    <a:lstStyle/>
                    <a:p>
                      <a:pPr algn="ctr">
                        <a:lnSpc>
                          <a:spcPct val="100000"/>
                        </a:lnSpc>
                      </a:pPr>
                      <a:r>
                        <a:rPr lang="tr-TR" sz="1400" i="1" dirty="0" smtClean="0">
                          <a:latin typeface="Times New Roman"/>
                          <a:cs typeface="Times New Roman"/>
                        </a:rPr>
                        <a:t>3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CF4"/>
                    </a:solidFill>
                  </a:tcPr>
                </a:tc>
                <a:tc>
                  <a:txBody>
                    <a:bodyPr/>
                    <a:lstStyle/>
                    <a:p>
                      <a:pPr marL="3175"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1" u="none" strike="noStrike" kern="1200" cap="none" spc="-5" normalizeH="0" baseline="0" noProof="0" smtClean="0">
                          <a:ln>
                            <a:noFill/>
                          </a:ln>
                          <a:solidFill>
                            <a:prstClr val="black"/>
                          </a:solidFill>
                          <a:effectLst/>
                          <a:uLnTx/>
                          <a:uFillTx/>
                          <a:latin typeface="Times New Roman"/>
                          <a:ea typeface="+mn-ea"/>
                          <a:cs typeface="Times New Roman"/>
                        </a:rPr>
                        <a:t>75</a:t>
                      </a:r>
                      <a:endParaRPr kumimoji="0" lang="tr-TR" sz="1400" b="0" i="1" u="none" strike="noStrike" kern="1200" cap="none" spc="0" normalizeH="0" baseline="0" noProof="0" dirty="0">
                        <a:ln>
                          <a:noFill/>
                        </a:ln>
                        <a:solidFill>
                          <a:prstClr val="black"/>
                        </a:solidFill>
                        <a:effectLst/>
                        <a:uLnTx/>
                        <a:uFillTx/>
                        <a:latin typeface="Times New Roman"/>
                        <a:ea typeface="+mn-ea"/>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CF4"/>
                    </a:solidFill>
                  </a:tcPr>
                </a:tc>
                <a:extLst>
                  <a:ext uri="{0D108BD9-81ED-4DB2-BD59-A6C34878D82A}">
                    <a16:rowId xmlns:a16="http://schemas.microsoft.com/office/drawing/2014/main" val="823139565"/>
                  </a:ext>
                </a:extLst>
              </a:tr>
              <a:tr h="505631">
                <a:tc>
                  <a:txBody>
                    <a:bodyPr/>
                    <a:lstStyle/>
                    <a:p>
                      <a:pPr marL="457200" lvl="1" indent="0" algn="l" defTabSz="914400" rtl="0" eaLnBrk="1" latinLnBrk="0" hangingPunct="1">
                        <a:lnSpc>
                          <a:spcPct val="100000"/>
                        </a:lnSpc>
                      </a:pPr>
                      <a:r>
                        <a:rPr lang="tr-TR" sz="1400" b="1" i="1" kern="1200" spc="-5" dirty="0" smtClean="0">
                          <a:solidFill>
                            <a:srgbClr val="FFFFFF"/>
                          </a:solidFill>
                          <a:latin typeface="Times New Roman"/>
                          <a:ea typeface="+mn-ea"/>
                          <a:cs typeface="Times New Roman"/>
                        </a:rPr>
                        <a:t>Yurtiçi ve Yurtdışı Kongre/Konferans/Fuar Ziyareti/Teknolojik İşbirliği Ziyareti Desteği</a:t>
                      </a:r>
                      <a:endParaRPr sz="1400" b="1" i="1" kern="1200" spc="-5" dirty="0">
                        <a:solidFill>
                          <a:srgbClr val="FFFFFF"/>
                        </a:solidFill>
                        <a:latin typeface="Times New Roman"/>
                        <a:ea typeface="+mn-ea"/>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4F81BC"/>
                    </a:solidFill>
                  </a:tcPr>
                </a:tc>
                <a:tc>
                  <a:txBody>
                    <a:bodyPr/>
                    <a:lstStyle/>
                    <a:p>
                      <a:pPr algn="ctr">
                        <a:lnSpc>
                          <a:spcPct val="100000"/>
                        </a:lnSpc>
                      </a:pPr>
                      <a:r>
                        <a:rPr lang="tr-TR" sz="1400" i="1" dirty="0" smtClean="0">
                          <a:latin typeface="Times New Roman"/>
                          <a:cs typeface="Times New Roman"/>
                        </a:rPr>
                        <a:t>4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CF4"/>
                    </a:solidFill>
                  </a:tcPr>
                </a:tc>
                <a:tc>
                  <a:txBody>
                    <a:bodyPr/>
                    <a:lstStyle/>
                    <a:p>
                      <a:pPr algn="ctr">
                        <a:lnSpc>
                          <a:spcPct val="100000"/>
                        </a:lnSpc>
                      </a:pPr>
                      <a:r>
                        <a:rPr lang="tr-TR" sz="1400" i="1" dirty="0" smtClean="0">
                          <a:latin typeface="Times New Roman"/>
                          <a:cs typeface="Times New Roman"/>
                        </a:rPr>
                        <a:t>40.000</a:t>
                      </a:r>
                      <a:endParaRPr sz="1400" i="1" dirty="0">
                        <a:latin typeface="Times New Roman"/>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CF4"/>
                    </a:solidFill>
                  </a:tcPr>
                </a:tc>
                <a:tc>
                  <a:txBody>
                    <a:bodyPr/>
                    <a:lstStyle/>
                    <a:p>
                      <a:pPr marL="3175"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1" u="none" strike="noStrike" kern="1200" cap="none" spc="-5" normalizeH="0" baseline="0" noProof="0" dirty="0" smtClean="0">
                          <a:ln>
                            <a:noFill/>
                          </a:ln>
                          <a:solidFill>
                            <a:prstClr val="black"/>
                          </a:solidFill>
                          <a:effectLst/>
                          <a:uLnTx/>
                          <a:uFillTx/>
                          <a:latin typeface="Times New Roman"/>
                          <a:ea typeface="+mn-ea"/>
                          <a:cs typeface="Times New Roman"/>
                        </a:rPr>
                        <a:t>75</a:t>
                      </a:r>
                      <a:endParaRPr kumimoji="0" lang="tr-TR" sz="1400" b="0" i="1" u="none" strike="noStrike" kern="1200" cap="none" spc="0" normalizeH="0" baseline="0" noProof="0" dirty="0">
                        <a:ln>
                          <a:noFill/>
                        </a:ln>
                        <a:solidFill>
                          <a:prstClr val="black"/>
                        </a:solidFill>
                        <a:effectLst/>
                        <a:uLnTx/>
                        <a:uFillTx/>
                        <a:latin typeface="Times New Roman"/>
                        <a:ea typeface="+mn-ea"/>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CF4"/>
                    </a:solidFill>
                  </a:tcPr>
                </a:tc>
                <a:extLst>
                  <a:ext uri="{0D108BD9-81ED-4DB2-BD59-A6C34878D82A}">
                    <a16:rowId xmlns:a16="http://schemas.microsoft.com/office/drawing/2014/main" val="1788998009"/>
                  </a:ext>
                </a:extLst>
              </a:tr>
              <a:tr h="312302">
                <a:tc>
                  <a:txBody>
                    <a:bodyPr/>
                    <a:lstStyle/>
                    <a:p>
                      <a:pPr lvl="0" algn="l">
                        <a:lnSpc>
                          <a:spcPts val="1830"/>
                        </a:lnSpc>
                      </a:pPr>
                      <a:r>
                        <a:rPr sz="1600" b="1" spc="-10" dirty="0">
                          <a:solidFill>
                            <a:srgbClr val="FFFFFF"/>
                          </a:solidFill>
                          <a:latin typeface="Times New Roman"/>
                          <a:cs typeface="Times New Roman"/>
                        </a:rPr>
                        <a:t>TOPLAM</a:t>
                      </a:r>
                      <a:endParaRPr sz="1600" dirty="0">
                        <a:latin typeface="Times New Roman"/>
                        <a:cs typeface="Times New Roman"/>
                      </a:endParaRPr>
                    </a:p>
                  </a:txBody>
                  <a:tcPr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4F81BC"/>
                    </a:solidFill>
                  </a:tcPr>
                </a:tc>
                <a:tc>
                  <a:txBody>
                    <a:bodyPr/>
                    <a:lstStyle/>
                    <a:p>
                      <a:pPr marL="0" indent="0" algn="ctr">
                        <a:lnSpc>
                          <a:spcPts val="1830"/>
                        </a:lnSpc>
                      </a:pPr>
                      <a:r>
                        <a:rPr sz="1600" spc="-5" dirty="0">
                          <a:latin typeface="Times New Roman"/>
                          <a:cs typeface="Times New Roman"/>
                        </a:rPr>
                        <a:t>1.500.000</a:t>
                      </a:r>
                      <a:r>
                        <a:rPr sz="1600" spc="-110" dirty="0">
                          <a:latin typeface="Times New Roman"/>
                          <a:cs typeface="Times New Roman"/>
                        </a:rPr>
                        <a:t> </a:t>
                      </a:r>
                      <a:r>
                        <a:rPr sz="1600" spc="-5" dirty="0">
                          <a:latin typeface="Times New Roman"/>
                          <a:cs typeface="Times New Roman"/>
                        </a:rPr>
                        <a:t>TL</a:t>
                      </a:r>
                      <a:endParaRPr sz="16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0" indent="0" algn="ctr">
                        <a:lnSpc>
                          <a:spcPts val="1830"/>
                        </a:lnSpc>
                      </a:pPr>
                      <a:r>
                        <a:rPr sz="1600" spc="-5" dirty="0">
                          <a:latin typeface="Times New Roman"/>
                          <a:cs typeface="Times New Roman"/>
                        </a:rPr>
                        <a:t>6.000.000</a:t>
                      </a:r>
                      <a:r>
                        <a:rPr sz="1600" spc="-110" dirty="0">
                          <a:latin typeface="Times New Roman"/>
                          <a:cs typeface="Times New Roman"/>
                        </a:rPr>
                        <a:t> </a:t>
                      </a:r>
                      <a:r>
                        <a:rPr sz="1600" spc="-5" dirty="0">
                          <a:latin typeface="Times New Roman"/>
                          <a:cs typeface="Times New Roman"/>
                        </a:rPr>
                        <a:t>TL</a:t>
                      </a:r>
                      <a:endParaRPr sz="16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D0D7E8"/>
                    </a:solidFill>
                  </a:tcPr>
                </a:tc>
                <a:tc>
                  <a:txBody>
                    <a:bodyPr/>
                    <a:lstStyle/>
                    <a:p>
                      <a:pPr algn="ctr">
                        <a:lnSpc>
                          <a:spcPct val="100000"/>
                        </a:lnSpc>
                      </a:pPr>
                      <a:endParaRPr sz="1600" dirty="0">
                        <a:latin typeface="Times New Roman"/>
                        <a:cs typeface="Times New Roman"/>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326821243"/>
                  </a:ext>
                </a:extLst>
              </a:tr>
            </a:tbl>
          </a:graphicData>
        </a:graphic>
      </p:graphicFrame>
    </p:spTree>
    <p:extLst>
      <p:ext uri="{BB962C8B-B14F-4D97-AF65-F5344CB8AC3E}">
        <p14:creationId xmlns:p14="http://schemas.microsoft.com/office/powerpoint/2010/main" val="2469158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937747" y="333756"/>
            <a:ext cx="960120" cy="676656"/>
          </a:xfrm>
          <a:prstGeom prst="rect">
            <a:avLst/>
          </a:prstGeom>
          <a:blipFill>
            <a:blip r:embed="rId53"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367120" y="208580"/>
            <a:ext cx="10514666" cy="874598"/>
          </a:xfrm>
          <a:prstGeom prst="rect">
            <a:avLst/>
          </a:prstGeom>
        </p:spPr>
        <p:txBody>
          <a:bodyPr vert="horz" wrap="square" lIns="0" tIns="12700" rIns="0" bIns="0" rtlCol="0" anchor="ctr">
            <a:spAutoFit/>
          </a:bodyPr>
          <a:lstStyle/>
          <a:p>
            <a:pPr marL="12700">
              <a:lnSpc>
                <a:spcPct val="100000"/>
              </a:lnSpc>
              <a:spcBef>
                <a:spcPts val="100"/>
              </a:spcBef>
            </a:pPr>
            <a:r>
              <a:rPr sz="2800" b="1" spc="-20" dirty="0">
                <a:solidFill>
                  <a:srgbClr val="0F243E"/>
                </a:solidFill>
                <a:effectLst>
                  <a:outerShdw blurRad="38100" dist="38100" dir="2700000" algn="tl">
                    <a:srgbClr val="000000">
                      <a:alpha val="43137"/>
                    </a:srgbClr>
                  </a:outerShdw>
                </a:effectLst>
                <a:latin typeface="Times New Roman"/>
                <a:cs typeface="Times New Roman"/>
              </a:rPr>
              <a:t>Ar-Ge, Ür-Ge ve İnovasyon </a:t>
            </a:r>
            <a:r>
              <a:rPr sz="2800" b="1" spc="-20" dirty="0" err="1">
                <a:solidFill>
                  <a:srgbClr val="0F243E"/>
                </a:solidFill>
                <a:effectLst>
                  <a:outerShdw blurRad="38100" dist="38100" dir="2700000" algn="tl">
                    <a:srgbClr val="000000">
                      <a:alpha val="43137"/>
                    </a:srgbClr>
                  </a:outerShdw>
                </a:effectLst>
                <a:latin typeface="Times New Roman"/>
                <a:cs typeface="Times New Roman"/>
              </a:rPr>
              <a:t>Destek</a:t>
            </a:r>
            <a:r>
              <a:rPr sz="2800" b="1" spc="-20" dirty="0">
                <a:solidFill>
                  <a:srgbClr val="0F243E"/>
                </a:solidFill>
                <a:effectLst>
                  <a:outerShdw blurRad="38100" dist="38100" dir="2700000" algn="tl">
                    <a:srgbClr val="000000">
                      <a:alpha val="43137"/>
                    </a:srgbClr>
                  </a:outerShdw>
                </a:effectLst>
                <a:latin typeface="Times New Roman"/>
                <a:cs typeface="Times New Roman"/>
              </a:rPr>
              <a:t> </a:t>
            </a:r>
            <a:r>
              <a:rPr sz="2800" b="1" spc="-20" dirty="0" err="1">
                <a:solidFill>
                  <a:srgbClr val="0F243E"/>
                </a:solidFill>
                <a:effectLst>
                  <a:outerShdw blurRad="38100" dist="38100" dir="2700000" algn="tl">
                    <a:srgbClr val="000000">
                      <a:alpha val="43137"/>
                    </a:srgbClr>
                  </a:outerShdw>
                </a:effectLst>
                <a:latin typeface="Times New Roman"/>
                <a:cs typeface="Times New Roman"/>
              </a:rPr>
              <a:t>Programı</a:t>
            </a:r>
            <a:r>
              <a:rPr lang="tr-TR" sz="2800" b="1" spc="-20" dirty="0">
                <a:solidFill>
                  <a:srgbClr val="0F243E"/>
                </a:solidFill>
                <a:effectLst>
                  <a:outerShdw blurRad="38100" dist="38100" dir="2700000" algn="tl">
                    <a:srgbClr val="000000">
                      <a:alpha val="43137"/>
                    </a:srgbClr>
                  </a:outerShdw>
                </a:effectLst>
                <a:latin typeface="Times New Roman"/>
                <a:cs typeface="Times New Roman"/>
              </a:rPr>
              <a:t/>
            </a:r>
            <a:br>
              <a:rPr lang="tr-TR" sz="2800" b="1" spc="-20" dirty="0">
                <a:solidFill>
                  <a:srgbClr val="0F243E"/>
                </a:solidFill>
                <a:effectLst>
                  <a:outerShdw blurRad="38100" dist="38100" dir="2700000" algn="tl">
                    <a:srgbClr val="000000">
                      <a:alpha val="43137"/>
                    </a:srgbClr>
                  </a:outerShdw>
                </a:effectLst>
                <a:latin typeface="Times New Roman"/>
                <a:cs typeface="Times New Roman"/>
              </a:rPr>
            </a:br>
            <a:r>
              <a:rPr lang="tr-TR" sz="2800" b="1" spc="-20" dirty="0">
                <a:solidFill>
                  <a:srgbClr val="0F243E"/>
                </a:solidFill>
                <a:effectLst>
                  <a:outerShdw blurRad="38100" dist="38100" dir="2700000" algn="tl">
                    <a:srgbClr val="000000">
                      <a:alpha val="43137"/>
                    </a:srgbClr>
                  </a:outerShdw>
                </a:effectLst>
                <a:latin typeface="Times New Roman"/>
                <a:cs typeface="Times New Roman"/>
              </a:rPr>
              <a:t>2021-01 Proje Teklif Çağrısı</a:t>
            </a:r>
            <a:endParaRPr sz="2800" b="1" spc="-20" dirty="0">
              <a:solidFill>
                <a:srgbClr val="0F243E"/>
              </a:solidFill>
              <a:effectLst>
                <a:outerShdw blurRad="38100" dist="38100" dir="2700000" algn="tl">
                  <a:srgbClr val="000000">
                    <a:alpha val="43137"/>
                  </a:srgbClr>
                </a:outerShdw>
              </a:effectLst>
              <a:latin typeface="Times New Roman"/>
              <a:cs typeface="Times New Roman"/>
            </a:endParaRPr>
          </a:p>
        </p:txBody>
      </p:sp>
      <p:sp>
        <p:nvSpPr>
          <p:cNvPr id="3" name="İçerik Yer Tutucusu 2"/>
          <p:cNvSpPr>
            <a:spLocks noGrp="1"/>
          </p:cNvSpPr>
          <p:nvPr>
            <p:ph idx="1"/>
          </p:nvPr>
        </p:nvSpPr>
        <p:spPr>
          <a:xfrm>
            <a:off x="435445" y="1294712"/>
            <a:ext cx="11475720" cy="5318876"/>
          </a:xfrm>
        </p:spPr>
        <p:txBody>
          <a:bodyPr/>
          <a:lstStyle/>
          <a:p>
            <a:pPr marL="467995" lvl="0" indent="0" algn="just">
              <a:lnSpc>
                <a:spcPct val="100000"/>
              </a:lnSpc>
              <a:spcBef>
                <a:spcPts val="0"/>
              </a:spcBef>
              <a:buNone/>
            </a:pPr>
            <a:endParaRPr lang="tr-TR" sz="2400" spc="-10" dirty="0" smtClean="0">
              <a:solidFill>
                <a:prstClr val="black"/>
              </a:solidFill>
              <a:latin typeface="Times New Roman"/>
              <a:cs typeface="Times New Roman"/>
            </a:endParaRPr>
          </a:p>
          <a:p>
            <a:pPr marL="467995" lvl="0" indent="0" algn="just">
              <a:lnSpc>
                <a:spcPct val="100000"/>
              </a:lnSpc>
              <a:spcBef>
                <a:spcPts val="0"/>
              </a:spcBef>
              <a:buNone/>
            </a:pPr>
            <a:endParaRPr lang="tr-TR" sz="2400" spc="-10" dirty="0" smtClean="0">
              <a:solidFill>
                <a:prstClr val="black"/>
              </a:solidFill>
              <a:latin typeface="Times New Roman"/>
              <a:cs typeface="Times New Roman"/>
            </a:endParaRPr>
          </a:p>
          <a:p>
            <a:pPr marL="467995" indent="0" algn="just">
              <a:lnSpc>
                <a:spcPct val="100000"/>
              </a:lnSpc>
              <a:spcBef>
                <a:spcPts val="0"/>
              </a:spcBef>
              <a:buNone/>
              <a:tabLst>
                <a:tab pos="812165" algn="l"/>
              </a:tabLst>
            </a:pPr>
            <a:endParaRPr lang="tr-TR" sz="2400" dirty="0" smtClean="0">
              <a:latin typeface="Times New Roman" panose="02020603050405020304" pitchFamily="18" charset="0"/>
              <a:cs typeface="Times New Roman" panose="02020603050405020304" pitchFamily="18" charset="0"/>
            </a:endParaRPr>
          </a:p>
          <a:p>
            <a:pPr marL="467995" indent="0" algn="just">
              <a:lnSpc>
                <a:spcPct val="100000"/>
              </a:lnSpc>
              <a:spcBef>
                <a:spcPts val="0"/>
              </a:spcBef>
              <a:buNone/>
              <a:tabLst>
                <a:tab pos="812165" algn="l"/>
              </a:tabLst>
            </a:pPr>
            <a:endParaRPr lang="tr-TR" sz="2400" spc="-5" dirty="0">
              <a:solidFill>
                <a:prstClr val="black"/>
              </a:solidFill>
              <a:latin typeface="Times New Roman" panose="02020603050405020304" pitchFamily="18" charset="0"/>
              <a:cs typeface="Times New Roman" panose="02020603050405020304" pitchFamily="18" charset="0"/>
            </a:endParaRPr>
          </a:p>
        </p:txBody>
      </p:sp>
      <p:grpSp>
        <p:nvGrpSpPr>
          <p:cNvPr id="5" name="Grup 4"/>
          <p:cNvGrpSpPr/>
          <p:nvPr/>
        </p:nvGrpSpPr>
        <p:grpSpPr>
          <a:xfrm>
            <a:off x="247578" y="1239564"/>
            <a:ext cx="10905121" cy="4848391"/>
            <a:chOff x="-619496" y="1684343"/>
            <a:chExt cx="9036891" cy="4526570"/>
          </a:xfrm>
        </p:grpSpPr>
        <p:grpSp>
          <p:nvGrpSpPr>
            <p:cNvPr id="6" name="Group 67"/>
            <p:cNvGrpSpPr>
              <a:grpSpLocks noChangeAspect="1"/>
            </p:cNvGrpSpPr>
            <p:nvPr/>
          </p:nvGrpSpPr>
          <p:grpSpPr>
            <a:xfrm>
              <a:off x="6947321" y="2270743"/>
              <a:ext cx="1470074" cy="1483078"/>
              <a:chOff x="9268877" y="1596791"/>
              <a:chExt cx="1005840" cy="1014737"/>
            </a:xfrm>
          </p:grpSpPr>
          <p:sp>
            <p:nvSpPr>
              <p:cNvPr id="96"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97"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grpSp>
        <p:cxnSp>
          <p:nvCxnSpPr>
            <p:cNvPr id="7"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9" name="Oval 8"/>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0" name="Oval 9"/>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cxnSp>
          <p:nvCxnSpPr>
            <p:cNvPr id="12"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91"/>
            <p:cNvSpPr txBox="1"/>
            <p:nvPr/>
          </p:nvSpPr>
          <p:spPr>
            <a:xfrm>
              <a:off x="1064659" y="2321280"/>
              <a:ext cx="2017887" cy="365823"/>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Başvuru</a:t>
              </a:r>
              <a:r>
                <a:rPr kumimoji="0" lang="tr-TR" sz="1600" b="1" i="0" u="none" strike="noStrike" kern="0" cap="none" spc="0" normalizeH="0" baseline="0" noProof="0" dirty="0" smtClean="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Çağrı Süresi İçinde)</a:t>
              </a:r>
              <a:endParaRPr kumimoji="0" lang="en-US" sz="1600"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5" name="TextBox 92"/>
            <p:cNvSpPr txBox="1"/>
            <p:nvPr/>
          </p:nvSpPr>
          <p:spPr>
            <a:xfrm>
              <a:off x="3875667" y="2338611"/>
              <a:ext cx="853397"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Kontrol</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6" name="TextBox 94"/>
            <p:cNvSpPr txBox="1"/>
            <p:nvPr/>
          </p:nvSpPr>
          <p:spPr>
            <a:xfrm>
              <a:off x="967683" y="2576801"/>
              <a:ext cx="2273429" cy="490815"/>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E-devlet üzerinden</a:t>
              </a:r>
              <a:r>
                <a:rPr kumimoji="0" lang="en-US" sz="1606" b="0" i="0" u="none" strike="noStrike" kern="0" cap="none" spc="0" normalizeH="0" baseline="0" noProof="0" dirty="0"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Uygulama</a:t>
              </a:r>
              <a:r>
                <a:rPr kumimoji="0" lang="en-US" sz="1606" b="0" i="0" u="none" strike="noStrike" kern="0" cap="none" spc="0" normalizeH="0" baseline="0" noProof="0" dirty="0"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Birimlerin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7" name="TextBox 95"/>
            <p:cNvSpPr txBox="1"/>
            <p:nvPr/>
          </p:nvSpPr>
          <p:spPr>
            <a:xfrm>
              <a:off x="3407942" y="2656085"/>
              <a:ext cx="1735063"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E</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ksiklerin</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bildirilmesi</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8" name="TextBox 93"/>
            <p:cNvSpPr txBox="1"/>
            <p:nvPr/>
          </p:nvSpPr>
          <p:spPr>
            <a:xfrm>
              <a:off x="6035032" y="2324855"/>
              <a:ext cx="992129"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Düzeltme</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9" name="TextBox 96"/>
            <p:cNvSpPr txBox="1"/>
            <p:nvPr/>
          </p:nvSpPr>
          <p:spPr>
            <a:xfrm>
              <a:off x="5128821" y="2549044"/>
              <a:ext cx="2854482" cy="49052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Düzeltme istenen başvurunun tekrar sunulması </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20" name="POWER_USER_ID_ICONS_Gavel"/>
            <p:cNvGrpSpPr>
              <a:grpSpLocks noChangeAspect="1"/>
            </p:cNvGrpSpPr>
            <p:nvPr>
              <p:custDataLst>
                <p:tags r:id="rId6"/>
              </p:custDataLst>
            </p:nvPr>
          </p:nvGrpSpPr>
          <p:grpSpPr>
            <a:xfrm>
              <a:off x="4083508" y="1731573"/>
              <a:ext cx="403436" cy="326506"/>
              <a:chOff x="-1958181" y="55563"/>
              <a:chExt cx="715963" cy="579438"/>
            </a:xfrm>
            <a:solidFill>
              <a:schemeClr val="tx2"/>
            </a:solidFill>
          </p:grpSpPr>
          <p:sp>
            <p:nvSpPr>
              <p:cNvPr id="90" name="POWER_USER_ID_ICONS_Gavel"/>
              <p:cNvSpPr>
                <a:spLocks noChangeArrowheads="1"/>
              </p:cNvSpPr>
              <p:nvPr>
                <p:custDataLst>
                  <p:tags r:id="rId46"/>
                </p:custDataLst>
              </p:nvPr>
            </p:nvSpPr>
            <p:spPr bwMode="auto">
              <a:xfrm>
                <a:off x="-1532731" y="560388"/>
                <a:ext cx="209550" cy="74613"/>
              </a:xfrm>
              <a:prstGeom prst="rect">
                <a:avLst/>
              </a:prstGeom>
              <a:grpFill/>
              <a:ln w="9525">
                <a:noFill/>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1" name="POWER_USER_ID_ICONS_Gavel"/>
              <p:cNvSpPr>
                <a:spLocks noChangeArrowheads="1"/>
              </p:cNvSpPr>
              <p:nvPr>
                <p:custDataLst>
                  <p:tags r:id="rId47"/>
                </p:custDataLst>
              </p:nvPr>
            </p:nvSpPr>
            <p:spPr bwMode="auto">
              <a:xfrm>
                <a:off x="-1643856" y="604838"/>
                <a:ext cx="401638" cy="30163"/>
              </a:xfrm>
              <a:prstGeom prst="rect">
                <a:avLst/>
              </a:prstGeom>
              <a:grpFill/>
              <a:ln w="9525">
                <a:noFill/>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2" name="POWER_USER_ID_ICONS_Gavel"/>
              <p:cNvSpPr>
                <a:spLocks/>
              </p:cNvSpPr>
              <p:nvPr>
                <p:custDataLst>
                  <p:tags r:id="rId48"/>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3" name="POWER_USER_ID_ICONS_Gavel"/>
              <p:cNvSpPr>
                <a:spLocks/>
              </p:cNvSpPr>
              <p:nvPr>
                <p:custDataLst>
                  <p:tags r:id="rId49"/>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4" name="POWER_USER_ID_ICONS_Gavel"/>
              <p:cNvSpPr>
                <a:spLocks/>
              </p:cNvSpPr>
              <p:nvPr>
                <p:custDataLst>
                  <p:tags r:id="rId50"/>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95" name="POWER_USER_ID_ICONS_Gavel"/>
              <p:cNvSpPr>
                <a:spLocks/>
              </p:cNvSpPr>
              <p:nvPr>
                <p:custDataLst>
                  <p:tags r:id="rId51"/>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21" name="POWER_USER_ID_ICONS_Big_Idea"/>
            <p:cNvGrpSpPr>
              <a:grpSpLocks noChangeAspect="1"/>
            </p:cNvGrpSpPr>
            <p:nvPr>
              <p:custDataLst>
                <p:tags r:id="rId7"/>
              </p:custDataLst>
            </p:nvPr>
          </p:nvGrpSpPr>
          <p:grpSpPr bwMode="auto">
            <a:xfrm>
              <a:off x="1903977" y="1684343"/>
              <a:ext cx="353773" cy="372365"/>
              <a:chOff x="3544" y="-299"/>
              <a:chExt cx="4110" cy="4326"/>
            </a:xfrm>
            <a:solidFill>
              <a:schemeClr val="tx2"/>
            </a:solidFill>
          </p:grpSpPr>
          <p:sp>
            <p:nvSpPr>
              <p:cNvPr id="8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sp>
          <p:nvSpPr>
            <p:cNvPr id="22" name="POWER_USER_ID_ICONS_Crossroads"/>
            <p:cNvSpPr>
              <a:spLocks noChangeAspect="1"/>
            </p:cNvSpPr>
            <p:nvPr>
              <p:custDataLst>
                <p:tags r:id="rId8"/>
              </p:custDataLst>
            </p:nvPr>
          </p:nvSpPr>
          <p:spPr bwMode="auto">
            <a:xfrm>
              <a:off x="6319772" y="1697828"/>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23" name="POWER_USER_ID_ICONS_Cup"/>
            <p:cNvGrpSpPr>
              <a:grpSpLocks noChangeAspect="1"/>
            </p:cNvGrpSpPr>
            <p:nvPr>
              <p:custDataLst>
                <p:tags r:id="rId9"/>
              </p:custDataLst>
            </p:nvPr>
          </p:nvGrpSpPr>
          <p:grpSpPr bwMode="auto">
            <a:xfrm>
              <a:off x="7787205" y="4771529"/>
              <a:ext cx="559408" cy="603779"/>
              <a:chOff x="69" y="56"/>
              <a:chExt cx="353" cy="381"/>
            </a:xfrm>
            <a:solidFill>
              <a:schemeClr val="tx2"/>
            </a:solidFill>
          </p:grpSpPr>
          <p:sp>
            <p:nvSpPr>
              <p:cNvPr id="76" name="POWER_USER_ID_ICONS_Cup"/>
              <p:cNvSpPr>
                <a:spLocks/>
              </p:cNvSpPr>
              <p:nvPr>
                <p:custDataLst>
                  <p:tags r:id="rId41"/>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7" name="POWER_USER_ID_ICONS_Cup"/>
              <p:cNvSpPr>
                <a:spLocks/>
              </p:cNvSpPr>
              <p:nvPr>
                <p:custDataLst>
                  <p:tags r:id="rId42"/>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8" name="POWER_USER_ID_ICONS_Cup"/>
              <p:cNvSpPr>
                <a:spLocks/>
              </p:cNvSpPr>
              <p:nvPr>
                <p:custDataLst>
                  <p:tags r:id="rId43"/>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9" name="POWER_USER_ID_ICONS_Cup"/>
              <p:cNvSpPr>
                <a:spLocks/>
              </p:cNvSpPr>
              <p:nvPr>
                <p:custDataLst>
                  <p:tags r:id="rId44"/>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80" name="POWER_USER_ID_ICONS_Cup"/>
              <p:cNvSpPr>
                <a:spLocks/>
              </p:cNvSpPr>
              <p:nvPr>
                <p:custDataLst>
                  <p:tags r:id="rId45"/>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24" name="POWER_USER_ID_ICONS_Flag5"/>
            <p:cNvGrpSpPr>
              <a:grpSpLocks noChangeAspect="1"/>
            </p:cNvGrpSpPr>
            <p:nvPr>
              <p:custDataLst>
                <p:tags r:id="rId10"/>
              </p:custDataLst>
            </p:nvPr>
          </p:nvGrpSpPr>
          <p:grpSpPr bwMode="auto">
            <a:xfrm>
              <a:off x="726606" y="1935356"/>
              <a:ext cx="362108" cy="466410"/>
              <a:chOff x="8" y="5"/>
              <a:chExt cx="368" cy="474"/>
            </a:xfrm>
            <a:solidFill>
              <a:schemeClr val="tx2"/>
            </a:solidFill>
          </p:grpSpPr>
          <p:sp>
            <p:nvSpPr>
              <p:cNvPr id="62" name="POWER_USER_ID_ICONS_Flag5"/>
              <p:cNvSpPr>
                <a:spLocks/>
              </p:cNvSpPr>
              <p:nvPr>
                <p:custDataLst>
                  <p:tags r:id="rId27"/>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3" name="POWER_USER_ID_ICONS_Flag5"/>
              <p:cNvSpPr>
                <a:spLocks noChangeArrowheads="1"/>
              </p:cNvSpPr>
              <p:nvPr>
                <p:custDataLst>
                  <p:tags r:id="rId28"/>
                </p:custDataLst>
              </p:nvPr>
            </p:nvSpPr>
            <p:spPr bwMode="auto">
              <a:xfrm>
                <a:off x="34" y="2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4" name="POWER_USER_ID_ICONS_Flag5"/>
              <p:cNvSpPr>
                <a:spLocks noChangeArrowheads="1"/>
              </p:cNvSpPr>
              <p:nvPr>
                <p:custDataLst>
                  <p:tags r:id="rId29"/>
                </p:custDataLst>
              </p:nvPr>
            </p:nvSpPr>
            <p:spPr bwMode="auto">
              <a:xfrm>
                <a:off x="88" y="8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5" name="POWER_USER_ID_ICONS_Flag5"/>
              <p:cNvSpPr>
                <a:spLocks noChangeArrowheads="1"/>
              </p:cNvSpPr>
              <p:nvPr>
                <p:custDataLst>
                  <p:tags r:id="rId30"/>
                </p:custDataLst>
              </p:nvPr>
            </p:nvSpPr>
            <p:spPr bwMode="auto">
              <a:xfrm>
                <a:off x="34" y="13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6" name="POWER_USER_ID_ICONS_Flag5"/>
              <p:cNvSpPr>
                <a:spLocks noChangeArrowheads="1"/>
              </p:cNvSpPr>
              <p:nvPr>
                <p:custDataLst>
                  <p:tags r:id="rId31"/>
                </p:custDataLst>
              </p:nvPr>
            </p:nvSpPr>
            <p:spPr bwMode="auto">
              <a:xfrm>
                <a:off x="88" y="19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7" name="POWER_USER_ID_ICONS_Flag5"/>
              <p:cNvSpPr>
                <a:spLocks noChangeArrowheads="1"/>
              </p:cNvSpPr>
              <p:nvPr>
                <p:custDataLst>
                  <p:tags r:id="rId32"/>
                </p:custDataLst>
              </p:nvPr>
            </p:nvSpPr>
            <p:spPr bwMode="auto">
              <a:xfrm>
                <a:off x="144" y="2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8" name="POWER_USER_ID_ICONS_Flag5"/>
              <p:cNvSpPr>
                <a:spLocks noChangeArrowheads="1"/>
              </p:cNvSpPr>
              <p:nvPr>
                <p:custDataLst>
                  <p:tags r:id="rId33"/>
                </p:custDataLst>
              </p:nvPr>
            </p:nvSpPr>
            <p:spPr bwMode="auto">
              <a:xfrm>
                <a:off x="198" y="8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69" name="POWER_USER_ID_ICONS_Flag5"/>
              <p:cNvSpPr>
                <a:spLocks noChangeArrowheads="1"/>
              </p:cNvSpPr>
              <p:nvPr>
                <p:custDataLst>
                  <p:tags r:id="rId34"/>
                </p:custDataLst>
              </p:nvPr>
            </p:nvSpPr>
            <p:spPr bwMode="auto">
              <a:xfrm>
                <a:off x="144" y="13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0" name="POWER_USER_ID_ICONS_Flag5"/>
              <p:cNvSpPr>
                <a:spLocks noChangeArrowheads="1"/>
              </p:cNvSpPr>
              <p:nvPr>
                <p:custDataLst>
                  <p:tags r:id="rId35"/>
                </p:custDataLst>
              </p:nvPr>
            </p:nvSpPr>
            <p:spPr bwMode="auto">
              <a:xfrm>
                <a:off x="198" y="19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1" name="POWER_USER_ID_ICONS_Flag5"/>
              <p:cNvSpPr>
                <a:spLocks noChangeArrowheads="1"/>
              </p:cNvSpPr>
              <p:nvPr>
                <p:custDataLst>
                  <p:tags r:id="rId36"/>
                </p:custDataLst>
              </p:nvPr>
            </p:nvSpPr>
            <p:spPr bwMode="auto">
              <a:xfrm>
                <a:off x="253" y="2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2" name="POWER_USER_ID_ICONS_Flag5"/>
              <p:cNvSpPr>
                <a:spLocks noChangeArrowheads="1"/>
              </p:cNvSpPr>
              <p:nvPr>
                <p:custDataLst>
                  <p:tags r:id="rId37"/>
                </p:custDataLst>
              </p:nvPr>
            </p:nvSpPr>
            <p:spPr bwMode="auto">
              <a:xfrm>
                <a:off x="309" y="8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3" name="POWER_USER_ID_ICONS_Flag5"/>
              <p:cNvSpPr>
                <a:spLocks noChangeArrowheads="1"/>
              </p:cNvSpPr>
              <p:nvPr>
                <p:custDataLst>
                  <p:tags r:id="rId38"/>
                </p:custDataLst>
              </p:nvPr>
            </p:nvSpPr>
            <p:spPr bwMode="auto">
              <a:xfrm>
                <a:off x="253" y="13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4" name="POWER_USER_ID_ICONS_Flag5"/>
              <p:cNvSpPr>
                <a:spLocks noChangeArrowheads="1"/>
              </p:cNvSpPr>
              <p:nvPr>
                <p:custDataLst>
                  <p:tags r:id="rId39"/>
                </p:custDataLst>
              </p:nvPr>
            </p:nvSpPr>
            <p:spPr bwMode="auto">
              <a:xfrm>
                <a:off x="309" y="19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75" name="POWER_USER_ID_ICONS_Flag5"/>
              <p:cNvSpPr>
                <a:spLocks noEditPoints="1"/>
              </p:cNvSpPr>
              <p:nvPr>
                <p:custDataLst>
                  <p:tags r:id="rId40"/>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25" name="Group 154"/>
            <p:cNvGrpSpPr>
              <a:grpSpLocks noChangeAspect="1"/>
            </p:cNvGrpSpPr>
            <p:nvPr/>
          </p:nvGrpSpPr>
          <p:grpSpPr>
            <a:xfrm rot="10800000">
              <a:off x="777435" y="3753770"/>
              <a:ext cx="1470074" cy="1483078"/>
              <a:chOff x="9268877" y="1596791"/>
              <a:chExt cx="1005840" cy="1014737"/>
            </a:xfrm>
          </p:grpSpPr>
          <p:sp>
            <p:nvSpPr>
              <p:cNvPr id="60"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61"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grpSp>
        <p:sp>
          <p:nvSpPr>
            <p:cNvPr id="26" name="Oval 25"/>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27" name="Oval 26"/>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28" name="Oval 27"/>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29" name="TextBox 160"/>
            <p:cNvSpPr txBox="1"/>
            <p:nvPr/>
          </p:nvSpPr>
          <p:spPr>
            <a:xfrm>
              <a:off x="5824537" y="3806958"/>
              <a:ext cx="1407755" cy="365823"/>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Teknik İnceleme</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30" name="TextBox 161"/>
            <p:cNvSpPr txBox="1"/>
            <p:nvPr/>
          </p:nvSpPr>
          <p:spPr>
            <a:xfrm>
              <a:off x="-619496" y="3728990"/>
              <a:ext cx="1417543" cy="647454"/>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Faaliyetlerin Yürütülmesi</a:t>
              </a:r>
              <a:endParaRPr kumimoji="0" lang="en-US" sz="2000"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31" name="TextBox 162"/>
            <p:cNvSpPr txBox="1"/>
            <p:nvPr/>
          </p:nvSpPr>
          <p:spPr>
            <a:xfrm>
              <a:off x="5411755" y="4149000"/>
              <a:ext cx="2828681" cy="302314"/>
            </a:xfrm>
            <a:prstGeom prst="rect">
              <a:avLst/>
            </a:prstGeom>
            <a:noFill/>
          </p:spPr>
          <p:txBody>
            <a:bodyPr wrap="square" rtlCol="0">
              <a:spAutoFit/>
            </a:bodyPr>
            <a:lstStyle/>
            <a:p>
              <a:pPr marL="12700" marR="5080" indent="-7620" algn="ctr">
                <a:lnSpc>
                  <a:spcPct val="94000"/>
                </a:lnSpc>
                <a:spcBef>
                  <a:spcPts val="245"/>
                </a:spcBef>
              </a:pPr>
              <a:r>
                <a:rPr lang="tr-TR" sz="1600" dirty="0">
                  <a:solidFill>
                    <a:srgbClr val="7E7E7E"/>
                  </a:solidFill>
                  <a:latin typeface="Times New Roman"/>
                  <a:cs typeface="Times New Roman"/>
                </a:rPr>
                <a:t>Öğretim </a:t>
              </a:r>
              <a:r>
                <a:rPr lang="tr-TR" sz="1600" spc="-5" dirty="0">
                  <a:solidFill>
                    <a:srgbClr val="7E7E7E"/>
                  </a:solidFill>
                  <a:latin typeface="Times New Roman"/>
                  <a:cs typeface="Times New Roman"/>
                </a:rPr>
                <a:t>Elemanı</a:t>
              </a:r>
              <a:r>
                <a:rPr lang="tr-TR" sz="1600" spc="-65" dirty="0">
                  <a:solidFill>
                    <a:srgbClr val="7E7E7E"/>
                  </a:solidFill>
                  <a:latin typeface="Times New Roman"/>
                  <a:cs typeface="Times New Roman"/>
                </a:rPr>
                <a:t> </a:t>
              </a:r>
              <a:r>
                <a:rPr lang="tr-TR" sz="1600" dirty="0">
                  <a:solidFill>
                    <a:srgbClr val="7E7E7E"/>
                  </a:solidFill>
                  <a:latin typeface="Times New Roman"/>
                  <a:cs typeface="Times New Roman"/>
                </a:rPr>
                <a:t>teknik  </a:t>
              </a:r>
              <a:r>
                <a:rPr lang="tr-TR" sz="1600" spc="-5" dirty="0">
                  <a:solidFill>
                    <a:srgbClr val="7E7E7E"/>
                  </a:solidFill>
                  <a:latin typeface="Times New Roman"/>
                  <a:cs typeface="Times New Roman"/>
                </a:rPr>
                <a:t>değerlendirme</a:t>
              </a:r>
              <a:endParaRPr lang="tr-TR" sz="1600" dirty="0">
                <a:latin typeface="Times New Roman"/>
                <a:cs typeface="Times New Roman"/>
              </a:endParaRPr>
            </a:p>
          </p:txBody>
        </p:sp>
        <p:sp>
          <p:nvSpPr>
            <p:cNvPr id="32" name="TextBox 163"/>
            <p:cNvSpPr txBox="1"/>
            <p:nvPr/>
          </p:nvSpPr>
          <p:spPr>
            <a:xfrm>
              <a:off x="-606472" y="4297681"/>
              <a:ext cx="1321689" cy="54763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4 aylık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dönemsel</a:t>
              </a:r>
              <a:r>
                <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izlem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33" name="TextBox 164"/>
            <p:cNvSpPr txBox="1"/>
            <p:nvPr/>
          </p:nvSpPr>
          <p:spPr>
            <a:xfrm>
              <a:off x="1648783" y="5370649"/>
              <a:ext cx="831794" cy="336736"/>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Ödeme</a:t>
              </a:r>
              <a:r>
                <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 </a:t>
              </a:r>
            </a:p>
          </p:txBody>
        </p:sp>
        <p:sp>
          <p:nvSpPr>
            <p:cNvPr id="34" name="TextBox 165"/>
            <p:cNvSpPr txBox="1"/>
            <p:nvPr/>
          </p:nvSpPr>
          <p:spPr>
            <a:xfrm>
              <a:off x="1088714" y="5720386"/>
              <a:ext cx="1792070" cy="49052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Dönemsel İzleme Formu ve Ödeme Talep Formu</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35" name="Oval 34"/>
            <p:cNvSpPr>
              <a:spLocks noChangeAspect="1"/>
            </p:cNvSpPr>
            <p:nvPr/>
          </p:nvSpPr>
          <p:spPr>
            <a:xfrm>
              <a:off x="1986872"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36" name="Oval 35"/>
            <p:cNvSpPr>
              <a:spLocks noChangeAspect="1"/>
            </p:cNvSpPr>
            <p:nvPr/>
          </p:nvSpPr>
          <p:spPr>
            <a:xfrm>
              <a:off x="4203139"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37" name="Oval 36"/>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38" name="TextBox 169"/>
            <p:cNvSpPr txBox="1"/>
            <p:nvPr/>
          </p:nvSpPr>
          <p:spPr>
            <a:xfrm>
              <a:off x="3050457" y="5335788"/>
              <a:ext cx="2361298"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Projenin Tamamlanması</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39" name="TextBox 170"/>
            <p:cNvSpPr txBox="1"/>
            <p:nvPr/>
          </p:nvSpPr>
          <p:spPr>
            <a:xfrm>
              <a:off x="4038823" y="3852761"/>
              <a:ext cx="597223" cy="365823"/>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smtClean="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Kurul</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40" name="TextBox 171"/>
            <p:cNvSpPr txBox="1"/>
            <p:nvPr/>
          </p:nvSpPr>
          <p:spPr>
            <a:xfrm>
              <a:off x="2894060" y="5659948"/>
              <a:ext cx="2967545" cy="547636"/>
            </a:xfrm>
            <a:prstGeom prst="rect">
              <a:avLst/>
            </a:prstGeom>
            <a:noFill/>
          </p:spPr>
          <p:txBody>
            <a:bodyPr wrap="square" rtlCol="0">
              <a:spAutoFit/>
            </a:bodyPr>
            <a:lstStyle/>
            <a:p>
              <a:pPr lvl="0" algn="ctr" defTabSz="688311">
                <a:defRPr/>
              </a:pPr>
              <a:r>
                <a:rPr lang="tr-TR" sz="1606" kern="0" dirty="0">
                  <a:solidFill>
                    <a:prstClr val="white">
                      <a:lumMod val="50000"/>
                    </a:prstClr>
                  </a:solidFill>
                  <a:latin typeface="Times New Roman" panose="02020603050405020304" pitchFamily="18" charset="0"/>
                  <a:ea typeface="ヒラギノ角ゴ Pro W3" pitchFamily="1" charset="-128"/>
                  <a:cs typeface="Times New Roman" panose="02020603050405020304" pitchFamily="18" charset="0"/>
                </a:rPr>
                <a:t>Ar-ge, </a:t>
              </a:r>
              <a:r>
                <a:rPr lang="tr-TR" sz="1606" kern="0" dirty="0" err="1">
                  <a:solidFill>
                    <a:prstClr val="white">
                      <a:lumMod val="50000"/>
                    </a:prstClr>
                  </a:solidFill>
                  <a:latin typeface="Times New Roman" panose="02020603050405020304" pitchFamily="18" charset="0"/>
                  <a:ea typeface="ヒラギノ角ゴ Pro W3" pitchFamily="1" charset="-128"/>
                  <a:cs typeface="Times New Roman" panose="02020603050405020304" pitchFamily="18" charset="0"/>
                </a:rPr>
                <a:t>Ür</a:t>
              </a:r>
              <a:r>
                <a:rPr lang="tr-TR" sz="1606" kern="0" dirty="0">
                  <a:solidFill>
                    <a:prstClr val="white">
                      <a:lumMod val="50000"/>
                    </a:prstClr>
                  </a:solidFill>
                  <a:latin typeface="Times New Roman" panose="02020603050405020304" pitchFamily="18" charset="0"/>
                  <a:ea typeface="ヒラギノ角ゴ Pro W3" pitchFamily="1" charset="-128"/>
                  <a:cs typeface="Times New Roman" panose="02020603050405020304" pitchFamily="18" charset="0"/>
                </a:rPr>
                <a:t>-Ge ve </a:t>
              </a:r>
              <a:r>
                <a:rPr lang="tr-TR" sz="1606" kern="0" dirty="0" err="1">
                  <a:solidFill>
                    <a:prstClr val="white">
                      <a:lumMod val="50000"/>
                    </a:prstClr>
                  </a:solidFill>
                  <a:latin typeface="Times New Roman" panose="02020603050405020304" pitchFamily="18" charset="0"/>
                  <a:ea typeface="ヒラギノ角ゴ Pro W3" pitchFamily="1" charset="-128"/>
                  <a:cs typeface="Times New Roman" panose="02020603050405020304" pitchFamily="18" charset="0"/>
                </a:rPr>
                <a:t>İnovasyon</a:t>
              </a:r>
              <a:r>
                <a:rPr lang="tr-TR" sz="1606" kern="0" dirty="0">
                  <a:solidFill>
                    <a:prstClr val="white">
                      <a:lumMod val="50000"/>
                    </a:prstClr>
                  </a:solidFill>
                  <a:latin typeface="Times New Roman" panose="02020603050405020304" pitchFamily="18" charset="0"/>
                  <a:ea typeface="ヒラギノ角ゴ Pro W3" pitchFamily="1" charset="-128"/>
                  <a:cs typeface="Times New Roman" panose="02020603050405020304" pitchFamily="18" charset="0"/>
                </a:rPr>
                <a:t> </a:t>
              </a:r>
              <a:r>
                <a:rPr lang="tr-TR" sz="1606" kern="0" dirty="0" smtClean="0">
                  <a:solidFill>
                    <a:prstClr val="white">
                      <a:lumMod val="50000"/>
                    </a:prstClr>
                  </a:solidFill>
                  <a:latin typeface="Times New Roman" panose="02020603050405020304" pitchFamily="18" charset="0"/>
                  <a:ea typeface="ヒラギノ角ゴ Pro W3" pitchFamily="1" charset="-128"/>
                  <a:cs typeface="Times New Roman" panose="02020603050405020304" pitchFamily="18" charset="0"/>
                </a:rPr>
                <a:t>projesinin </a:t>
              </a:r>
              <a:r>
                <a:rPr kumimoji="0" lang="en-US" sz="1606" b="0" i="0" u="none" strike="noStrike" kern="0" cap="none" spc="0" normalizeH="0" baseline="0" noProof="0" dirty="0" err="1"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başarılı</a:t>
              </a:r>
              <a:r>
                <a:rPr kumimoji="0" lang="en-US" sz="1606" b="0" i="0" u="none" strike="noStrike" kern="0" cap="none" spc="0" normalizeH="0" baseline="0" noProof="0" dirty="0"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 </a:t>
              </a:r>
              <a:r>
                <a:rPr kumimoji="0" lang="tr-TR" sz="1606" b="0" i="0" u="none" strike="noStrike" kern="0" cap="none" spc="0" normalizeH="0" baseline="0" noProof="0" dirty="0"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t</a:t>
              </a:r>
              <a:r>
                <a:rPr kumimoji="0" lang="en-US" sz="1606" b="0" i="0" u="none" strike="noStrike" kern="0" cap="none" spc="0" normalizeH="0" baseline="0" noProof="0" dirty="0" err="1" smtClean="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amamlanması</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tamamlanmaması</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41" name="TextBox 172"/>
            <p:cNvSpPr txBox="1"/>
            <p:nvPr/>
          </p:nvSpPr>
          <p:spPr>
            <a:xfrm>
              <a:off x="3301226" y="4123877"/>
              <a:ext cx="2174360" cy="309520"/>
            </a:xfrm>
            <a:prstGeom prst="rect">
              <a:avLst/>
            </a:prstGeom>
            <a:noFill/>
          </p:spPr>
          <p:txBody>
            <a:bodyPr wrap="square" rtlCol="0">
              <a:spAutoFit/>
            </a:bodyPr>
            <a:lstStyle/>
            <a:p>
              <a:pPr lvl="0" algn="ctr" defTabSz="688311">
                <a:defRPr/>
              </a:pPr>
              <a:r>
                <a:rPr lang="tr-TR" sz="1606" kern="0" dirty="0">
                  <a:solidFill>
                    <a:prstClr val="white">
                      <a:lumMod val="50000"/>
                    </a:prstClr>
                  </a:solidFill>
                  <a:latin typeface="Times New Roman" panose="02020603050405020304" pitchFamily="18" charset="0"/>
                  <a:ea typeface="ヒラギノ角ゴ Pro W3" pitchFamily="1" charset="-128"/>
                  <a:cs typeface="Times New Roman" panose="02020603050405020304" pitchFamily="18" charset="0"/>
                </a:rPr>
                <a:t>Kabul, ret, görüş, revizyon</a:t>
              </a:r>
            </a:p>
          </p:txBody>
        </p:sp>
        <p:sp>
          <p:nvSpPr>
            <p:cNvPr id="42" name="TextBox 173"/>
            <p:cNvSpPr txBox="1"/>
            <p:nvPr/>
          </p:nvSpPr>
          <p:spPr>
            <a:xfrm>
              <a:off x="5825238" y="5357758"/>
              <a:ext cx="1816743" cy="335509"/>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rPr>
                <a:t>Projenin İzlenmesi</a:t>
              </a:r>
              <a:endParaRPr kumimoji="0" lang="en-US" sz="2007" b="1" i="0" u="none" strike="noStrike" kern="0" cap="none" spc="0" normalizeH="0" baseline="0" noProof="0" dirty="0">
                <a:ln>
                  <a:noFill/>
                </a:ln>
                <a:solidFill>
                  <a:srgbClr val="1F497D"/>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43" name="TextBox 174"/>
            <p:cNvSpPr txBox="1"/>
            <p:nvPr/>
          </p:nvSpPr>
          <p:spPr>
            <a:xfrm>
              <a:off x="5518474" y="5780824"/>
              <a:ext cx="2604654"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Bir yıl sonra 1 defa </a:t>
              </a:r>
              <a:r>
                <a:rPr kumimoji="0" lang="en-US" sz="1606" b="0" i="0" u="none" strike="noStrike" kern="0" cap="none" spc="0" normalizeH="0" baseline="0" noProof="0" dirty="0" err="1">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izle</a:t>
              </a:r>
              <a:r>
                <a:rPr kumimoji="0" lang="tr-TR"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rPr>
                <a:t>me</a:t>
              </a:r>
              <a:endParaRPr kumimoji="0" lang="en-US" sz="1606" b="0" i="0" u="none" strike="noStrike" kern="0" cap="none" spc="0" normalizeH="0" baseline="0" noProof="0" dirty="0">
                <a:ln>
                  <a:noFill/>
                </a:ln>
                <a:solidFill>
                  <a:prstClr val="white">
                    <a:lumMod val="50000"/>
                  </a:prstClr>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44" name="POWER_USER_ID_ICONS_Board"/>
            <p:cNvSpPr>
              <a:spLocks noChangeAspect="1" noEditPoints="1"/>
            </p:cNvSpPr>
            <p:nvPr>
              <p:custDataLst>
                <p:tags r:id="rId11"/>
              </p:custDataLst>
            </p:nvPr>
          </p:nvSpPr>
          <p:spPr bwMode="auto">
            <a:xfrm>
              <a:off x="1926114" y="3147118"/>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45" name="POWER_USER_ID_ICONS_Stopwatch5"/>
            <p:cNvSpPr>
              <a:spLocks noChangeAspect="1" noEditPoints="1"/>
            </p:cNvSpPr>
            <p:nvPr>
              <p:custDataLst>
                <p:tags r:id="rId12"/>
              </p:custDataLst>
            </p:nvPr>
          </p:nvSpPr>
          <p:spPr bwMode="auto">
            <a:xfrm>
              <a:off x="4075508" y="4621422"/>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nvGrpSpPr>
            <p:cNvPr id="46" name="POWER_USER_ID_ICONS_Government"/>
            <p:cNvGrpSpPr>
              <a:grpSpLocks noChangeAspect="1"/>
            </p:cNvGrpSpPr>
            <p:nvPr>
              <p:custDataLst>
                <p:tags r:id="rId13"/>
              </p:custDataLst>
            </p:nvPr>
          </p:nvGrpSpPr>
          <p:grpSpPr bwMode="auto">
            <a:xfrm>
              <a:off x="4083186" y="3066244"/>
              <a:ext cx="439341" cy="450056"/>
              <a:chOff x="58" y="-1221"/>
              <a:chExt cx="369" cy="378"/>
            </a:xfrm>
            <a:solidFill>
              <a:schemeClr val="tx2"/>
            </a:solidFill>
          </p:grpSpPr>
          <p:sp>
            <p:nvSpPr>
              <p:cNvPr id="58" name="POWER_USER_ID_ICONS_Government"/>
              <p:cNvSpPr>
                <a:spLocks noEditPoints="1"/>
              </p:cNvSpPr>
              <p:nvPr>
                <p:custDataLst>
                  <p:tags r:id="rId25"/>
                </p:custDataLst>
              </p:nvPr>
            </p:nvSpPr>
            <p:spPr bwMode="auto">
              <a:xfrm>
                <a:off x="58" y="-1150"/>
                <a:ext cx="369" cy="307"/>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9" name="POWER_USER_ID_ICONS_Government"/>
              <p:cNvSpPr>
                <a:spLocks/>
              </p:cNvSpPr>
              <p:nvPr>
                <p:custDataLst>
                  <p:tags r:id="rId26"/>
                </p:custDataLst>
              </p:nvPr>
            </p:nvSpPr>
            <p:spPr bwMode="auto">
              <a:xfrm>
                <a:off x="58" y="-1221"/>
                <a:ext cx="369" cy="9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nvGrpSpPr>
            <p:cNvPr id="47" name="POWER_USER_ID_ICONS_Poll"/>
            <p:cNvGrpSpPr>
              <a:grpSpLocks noChangeAspect="1"/>
            </p:cNvGrpSpPr>
            <p:nvPr>
              <p:custDataLst>
                <p:tags r:id="rId14"/>
              </p:custDataLst>
            </p:nvPr>
          </p:nvGrpSpPr>
          <p:grpSpPr bwMode="auto">
            <a:xfrm>
              <a:off x="6277098" y="4519266"/>
              <a:ext cx="361475" cy="468868"/>
              <a:chOff x="74" y="94"/>
              <a:chExt cx="276" cy="358"/>
            </a:xfrm>
            <a:solidFill>
              <a:schemeClr val="tx2"/>
            </a:solidFill>
          </p:grpSpPr>
          <p:sp>
            <p:nvSpPr>
              <p:cNvPr id="48" name="POWER_USER_ID_ICONS_Poll"/>
              <p:cNvSpPr>
                <a:spLocks/>
              </p:cNvSpPr>
              <p:nvPr>
                <p:custDataLst>
                  <p:tags r:id="rId15"/>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49" name="POWER_USER_ID_ICONS_Poll"/>
              <p:cNvSpPr>
                <a:spLocks noEditPoints="1"/>
              </p:cNvSpPr>
              <p:nvPr>
                <p:custDataLst>
                  <p:tags r:id="rId16"/>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0" name="POWER_USER_ID_ICONS_Poll"/>
              <p:cNvSpPr>
                <a:spLocks noEditPoints="1"/>
              </p:cNvSpPr>
              <p:nvPr>
                <p:custDataLst>
                  <p:tags r:id="rId17"/>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1" name="POWER_USER_ID_ICONS_Poll"/>
              <p:cNvSpPr>
                <a:spLocks noEditPoints="1"/>
              </p:cNvSpPr>
              <p:nvPr>
                <p:custDataLst>
                  <p:tags r:id="rId18"/>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2" name="POWER_USER_ID_ICONS_Poll"/>
              <p:cNvSpPr>
                <a:spLocks noChangeArrowheads="1"/>
              </p:cNvSpPr>
              <p:nvPr>
                <p:custDataLst>
                  <p:tags r:id="rId19"/>
                </p:custDataLst>
              </p:nvPr>
            </p:nvSpPr>
            <p:spPr bwMode="auto">
              <a:xfrm>
                <a:off x="129"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3" name="POWER_USER_ID_ICONS_Poll"/>
              <p:cNvSpPr>
                <a:spLocks/>
              </p:cNvSpPr>
              <p:nvPr>
                <p:custDataLst>
                  <p:tags r:id="rId20"/>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4" name="POWER_USER_ID_ICONS_Poll"/>
              <p:cNvSpPr>
                <a:spLocks noChangeArrowheads="1"/>
              </p:cNvSpPr>
              <p:nvPr>
                <p:custDataLst>
                  <p:tags r:id="rId21"/>
                </p:custDataLst>
              </p:nvPr>
            </p:nvSpPr>
            <p:spPr bwMode="auto">
              <a:xfrm>
                <a:off x="216"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5" name="POWER_USER_ID_ICONS_Poll"/>
              <p:cNvSpPr>
                <a:spLocks/>
              </p:cNvSpPr>
              <p:nvPr>
                <p:custDataLst>
                  <p:tags r:id="rId22"/>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6" name="POWER_USER_ID_ICONS_Poll"/>
              <p:cNvSpPr>
                <a:spLocks noChangeArrowheads="1"/>
              </p:cNvSpPr>
              <p:nvPr>
                <p:custDataLst>
                  <p:tags r:id="rId23"/>
                </p:custDataLst>
              </p:nvPr>
            </p:nvSpPr>
            <p:spPr bwMode="auto">
              <a:xfrm>
                <a:off x="304" y="384"/>
                <a:ext cx="31"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57" name="POWER_USER_ID_ICONS_Poll"/>
              <p:cNvSpPr>
                <a:spLocks/>
              </p:cNvSpPr>
              <p:nvPr>
                <p:custDataLst>
                  <p:tags r:id="rId24"/>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grpSp>
      <p:grpSp>
        <p:nvGrpSpPr>
          <p:cNvPr id="123" name="Clipboard3"/>
          <p:cNvGrpSpPr>
            <a:grpSpLocks noChangeAspect="1"/>
          </p:cNvGrpSpPr>
          <p:nvPr>
            <p:custDataLst>
              <p:tags r:id="rId1"/>
            </p:custDataLst>
          </p:nvPr>
        </p:nvGrpSpPr>
        <p:grpSpPr bwMode="auto">
          <a:xfrm>
            <a:off x="8838325" y="2859825"/>
            <a:ext cx="408370" cy="544912"/>
            <a:chOff x="63" y="9"/>
            <a:chExt cx="326" cy="435"/>
          </a:xfrm>
          <a:solidFill>
            <a:srgbClr val="1F497D"/>
          </a:solidFill>
        </p:grpSpPr>
        <p:sp>
          <p:nvSpPr>
            <p:cNvPr id="124" name="Clipboard3"/>
            <p:cNvSpPr>
              <a:spLocks noEditPoints="1"/>
            </p:cNvSpPr>
            <p:nvPr>
              <p:custDataLst>
                <p:tags r:id="rId2"/>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solidFill>
              <a:srgbClr val="1F497D"/>
            </a:solid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25" name="Clipboard3"/>
            <p:cNvSpPr>
              <a:spLocks/>
            </p:cNvSpPr>
            <p:nvPr>
              <p:custDataLst>
                <p:tags r:id="rId3"/>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26" name="Clipboard3"/>
            <p:cNvSpPr>
              <a:spLocks/>
            </p:cNvSpPr>
            <p:nvPr>
              <p:custDataLst>
                <p:tags r:id="rId4"/>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sp>
          <p:nvSpPr>
            <p:cNvPr id="127" name="Clipboard3"/>
            <p:cNvSpPr>
              <a:spLocks/>
            </p:cNvSpPr>
            <p:nvPr>
              <p:custDataLst>
                <p:tags r:id="rId5"/>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rgbClr val="1F497D"/>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Times New Roman" panose="02020603050405020304" pitchFamily="18" charset="0"/>
                <a:ea typeface="ヒラギノ角ゴ Pro W3" pitchFamily="1" charset="-128"/>
                <a:cs typeface="Times New Roman" panose="02020603050405020304" pitchFamily="18" charset="0"/>
              </a:endParaRPr>
            </a:p>
          </p:txBody>
        </p:sp>
      </p:grpSp>
      <p:sp>
        <p:nvSpPr>
          <p:cNvPr id="129" name="object 117"/>
          <p:cNvSpPr txBox="1"/>
          <p:nvPr/>
        </p:nvSpPr>
        <p:spPr>
          <a:xfrm>
            <a:off x="2517957" y="3608277"/>
            <a:ext cx="2318385" cy="570230"/>
          </a:xfrm>
          <a:prstGeom prst="rect">
            <a:avLst/>
          </a:prstGeom>
        </p:spPr>
        <p:txBody>
          <a:bodyPr vert="horz" wrap="square" lIns="0" tIns="13335" rIns="0" bIns="0" rtlCol="0">
            <a:spAutoFit/>
          </a:bodyPr>
          <a:lstStyle/>
          <a:p>
            <a:pPr marL="559435">
              <a:lnSpc>
                <a:spcPts val="2380"/>
              </a:lnSpc>
              <a:spcBef>
                <a:spcPts val="105"/>
              </a:spcBef>
            </a:pPr>
            <a:r>
              <a:rPr sz="2000" b="1" dirty="0">
                <a:solidFill>
                  <a:srgbClr val="1F487C"/>
                </a:solidFill>
                <a:latin typeface="Times New Roman"/>
                <a:cs typeface="Times New Roman"/>
              </a:rPr>
              <a:t>Komite</a:t>
            </a:r>
            <a:endParaRPr sz="2000" dirty="0">
              <a:latin typeface="Times New Roman"/>
              <a:cs typeface="Times New Roman"/>
            </a:endParaRPr>
          </a:p>
          <a:p>
            <a:pPr marL="12700">
              <a:lnSpc>
                <a:spcPts val="1900"/>
              </a:lnSpc>
            </a:pPr>
            <a:r>
              <a:rPr sz="1600" dirty="0">
                <a:solidFill>
                  <a:srgbClr val="7E7E7E"/>
                </a:solidFill>
                <a:latin typeface="Times New Roman"/>
                <a:cs typeface="Times New Roman"/>
              </a:rPr>
              <a:t>Kabul, ret, revizyonlu</a:t>
            </a:r>
            <a:r>
              <a:rPr sz="1600" spc="-65" dirty="0">
                <a:solidFill>
                  <a:srgbClr val="7E7E7E"/>
                </a:solidFill>
                <a:latin typeface="Times New Roman"/>
                <a:cs typeface="Times New Roman"/>
              </a:rPr>
              <a:t> </a:t>
            </a:r>
            <a:r>
              <a:rPr sz="1600" dirty="0">
                <a:solidFill>
                  <a:srgbClr val="7E7E7E"/>
                </a:solidFill>
                <a:latin typeface="Times New Roman"/>
                <a:cs typeface="Times New Roman"/>
              </a:rPr>
              <a:t>kabul</a:t>
            </a:r>
            <a:endParaRPr sz="1600" dirty="0">
              <a:latin typeface="Times New Roman"/>
              <a:cs typeface="Times New Roman"/>
            </a:endParaRPr>
          </a:p>
        </p:txBody>
      </p:sp>
      <p:sp>
        <p:nvSpPr>
          <p:cNvPr id="131" name="Oval 130"/>
          <p:cNvSpPr>
            <a:spLocks noChangeAspect="1"/>
          </p:cNvSpPr>
          <p:nvPr/>
        </p:nvSpPr>
        <p:spPr>
          <a:xfrm>
            <a:off x="1983914" y="4750017"/>
            <a:ext cx="200253" cy="175847"/>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32" name="Oval 131"/>
          <p:cNvSpPr>
            <a:spLocks noChangeAspect="1"/>
          </p:cNvSpPr>
          <p:nvPr/>
        </p:nvSpPr>
        <p:spPr>
          <a:xfrm>
            <a:off x="1959103" y="3670140"/>
            <a:ext cx="200253" cy="175847"/>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Times New Roman" panose="02020603050405020304" pitchFamily="18" charset="0"/>
              <a:ea typeface="+mn-ea"/>
              <a:cs typeface="Times New Roman" panose="02020603050405020304" pitchFamily="18" charset="0"/>
            </a:endParaRPr>
          </a:p>
        </p:txBody>
      </p:sp>
      <p:sp>
        <p:nvSpPr>
          <p:cNvPr id="133" name="object 122"/>
          <p:cNvSpPr txBox="1"/>
          <p:nvPr/>
        </p:nvSpPr>
        <p:spPr>
          <a:xfrm>
            <a:off x="434146" y="4734971"/>
            <a:ext cx="1738951" cy="1645920"/>
          </a:xfrm>
          <a:prstGeom prst="rect">
            <a:avLst/>
          </a:prstGeom>
        </p:spPr>
        <p:txBody>
          <a:bodyPr vert="horz" wrap="square" lIns="0" tIns="12700" rIns="0" bIns="0" rtlCol="0">
            <a:spAutoFit/>
          </a:bodyPr>
          <a:lstStyle/>
          <a:p>
            <a:pPr marL="399415" marR="143510" indent="50165">
              <a:lnSpc>
                <a:spcPct val="100000"/>
              </a:lnSpc>
              <a:spcBef>
                <a:spcPts val="100"/>
              </a:spcBef>
            </a:pPr>
            <a:r>
              <a:rPr sz="2000" b="1" dirty="0">
                <a:solidFill>
                  <a:srgbClr val="1F487C"/>
                </a:solidFill>
                <a:latin typeface="Times New Roman"/>
                <a:cs typeface="Times New Roman"/>
              </a:rPr>
              <a:t>Erken  Ödeme</a:t>
            </a:r>
            <a:endParaRPr sz="2000" dirty="0">
              <a:latin typeface="Times New Roman"/>
              <a:cs typeface="Times New Roman"/>
            </a:endParaRPr>
          </a:p>
          <a:p>
            <a:pPr marL="12700" marR="5080" algn="ctr">
              <a:lnSpc>
                <a:spcPct val="100000"/>
              </a:lnSpc>
              <a:spcBef>
                <a:spcPts val="270"/>
              </a:spcBef>
            </a:pPr>
            <a:r>
              <a:rPr sz="1600" spc="-10" dirty="0">
                <a:solidFill>
                  <a:srgbClr val="7E7E7E"/>
                </a:solidFill>
                <a:latin typeface="Times New Roman"/>
                <a:cs typeface="Times New Roman"/>
              </a:rPr>
              <a:t>Geri ödemesiz  </a:t>
            </a:r>
            <a:r>
              <a:rPr sz="1600" spc="-5" dirty="0">
                <a:solidFill>
                  <a:srgbClr val="7E7E7E"/>
                </a:solidFill>
                <a:latin typeface="Times New Roman"/>
                <a:cs typeface="Times New Roman"/>
              </a:rPr>
              <a:t>destek tutarının  yüzde</a:t>
            </a:r>
            <a:r>
              <a:rPr sz="1600" spc="-75" dirty="0">
                <a:solidFill>
                  <a:srgbClr val="7E7E7E"/>
                </a:solidFill>
                <a:latin typeface="Times New Roman"/>
                <a:cs typeface="Times New Roman"/>
              </a:rPr>
              <a:t> </a:t>
            </a:r>
            <a:r>
              <a:rPr sz="1600" spc="-5" dirty="0">
                <a:solidFill>
                  <a:srgbClr val="7E7E7E"/>
                </a:solidFill>
                <a:latin typeface="Times New Roman"/>
                <a:cs typeface="Times New Roman"/>
              </a:rPr>
              <a:t>%50’sine  kadar</a:t>
            </a:r>
            <a:endParaRPr sz="1600" dirty="0">
              <a:latin typeface="Times New Roman"/>
              <a:cs typeface="Times New Roman"/>
            </a:endParaRPr>
          </a:p>
        </p:txBody>
      </p:sp>
    </p:spTree>
    <p:extLst>
      <p:ext uri="{BB962C8B-B14F-4D97-AF65-F5344CB8AC3E}">
        <p14:creationId xmlns:p14="http://schemas.microsoft.com/office/powerpoint/2010/main" val="2698992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066780" y="6555435"/>
            <a:ext cx="196215"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9299A0"/>
                </a:solidFill>
                <a:latin typeface="Arial"/>
                <a:cs typeface="Arial"/>
              </a:rPr>
              <a:t>38</a:t>
            </a:r>
            <a:endParaRPr sz="1200">
              <a:latin typeface="Arial"/>
              <a:cs typeface="Arial"/>
            </a:endParaRPr>
          </a:p>
        </p:txBody>
      </p:sp>
      <p:sp>
        <p:nvSpPr>
          <p:cNvPr id="3" name="object 3"/>
          <p:cNvSpPr txBox="1">
            <a:spLocks noGrp="1"/>
          </p:cNvSpPr>
          <p:nvPr>
            <p:ph type="title"/>
          </p:nvPr>
        </p:nvSpPr>
        <p:spPr>
          <a:xfrm>
            <a:off x="1469409" y="1908778"/>
            <a:ext cx="8980227" cy="2875146"/>
          </a:xfrm>
          <a:prstGeom prst="rect">
            <a:avLst/>
          </a:prstGeom>
        </p:spPr>
        <p:txBody>
          <a:bodyPr vert="horz" wrap="square" lIns="0" tIns="12700" rIns="0" bIns="0" rtlCol="0">
            <a:spAutoFit/>
          </a:bodyPr>
          <a:lstStyle/>
          <a:p>
            <a:pPr marL="12700" algn="ctr">
              <a:lnSpc>
                <a:spcPct val="100000"/>
              </a:lnSpc>
              <a:spcBef>
                <a:spcPts val="100"/>
              </a:spcBef>
            </a:pPr>
            <a:r>
              <a:rPr sz="6600" spc="-50" dirty="0" err="1" smtClean="0">
                <a:solidFill>
                  <a:srgbClr val="00B9D4"/>
                </a:solidFill>
                <a:latin typeface="Arial"/>
                <a:cs typeface="Arial"/>
              </a:rPr>
              <a:t>Teşekkürler</a:t>
            </a:r>
            <a:r>
              <a:rPr lang="tr-TR" sz="6600" spc="-50" dirty="0" smtClean="0">
                <a:solidFill>
                  <a:srgbClr val="00B9D4"/>
                </a:solidFill>
                <a:latin typeface="Arial"/>
                <a:cs typeface="Arial"/>
              </a:rPr>
              <a:t/>
            </a:r>
            <a:br>
              <a:rPr lang="tr-TR" sz="6600" spc="-50" dirty="0" smtClean="0">
                <a:solidFill>
                  <a:srgbClr val="00B9D4"/>
                </a:solidFill>
                <a:latin typeface="Arial"/>
                <a:cs typeface="Arial"/>
              </a:rPr>
            </a:br>
            <a:r>
              <a:rPr lang="tr-TR" sz="4000" spc="-50" dirty="0">
                <a:solidFill>
                  <a:srgbClr val="00B9D4"/>
                </a:solidFill>
                <a:latin typeface="Arial"/>
                <a:cs typeface="Arial"/>
              </a:rPr>
              <a:t/>
            </a:r>
            <a:br>
              <a:rPr lang="tr-TR" sz="4000" spc="-50" dirty="0">
                <a:solidFill>
                  <a:srgbClr val="00B9D4"/>
                </a:solidFill>
                <a:latin typeface="Arial"/>
                <a:cs typeface="Arial"/>
              </a:rPr>
            </a:br>
            <a:r>
              <a:rPr lang="tr-TR" sz="4000" spc="-50" dirty="0" err="1" smtClean="0">
                <a:solidFill>
                  <a:srgbClr val="00B9D4"/>
                </a:solidFill>
                <a:latin typeface="Arial"/>
                <a:cs typeface="Arial"/>
              </a:rPr>
              <a:t>H.Oytun</a:t>
            </a:r>
            <a:r>
              <a:rPr lang="tr-TR" sz="4000" spc="-50" dirty="0" smtClean="0">
                <a:solidFill>
                  <a:srgbClr val="00B9D4"/>
                </a:solidFill>
                <a:latin typeface="Arial"/>
                <a:cs typeface="Arial"/>
              </a:rPr>
              <a:t> YALÇINKAYA</a:t>
            </a:r>
            <a:r>
              <a:rPr lang="tr-TR" sz="4000" spc="-50" dirty="0">
                <a:solidFill>
                  <a:srgbClr val="00B9D4"/>
                </a:solidFill>
                <a:latin typeface="Arial"/>
                <a:cs typeface="Arial"/>
              </a:rPr>
              <a:t/>
            </a:r>
            <a:br>
              <a:rPr lang="tr-TR" sz="4000" spc="-50" dirty="0">
                <a:solidFill>
                  <a:srgbClr val="00B9D4"/>
                </a:solidFill>
                <a:latin typeface="Arial"/>
                <a:cs typeface="Arial"/>
              </a:rPr>
            </a:br>
            <a:r>
              <a:rPr lang="tr-TR" sz="4000" spc="-50" dirty="0" smtClean="0">
                <a:solidFill>
                  <a:srgbClr val="00B9D4"/>
                </a:solidFill>
                <a:latin typeface="Arial"/>
                <a:cs typeface="Arial"/>
              </a:rPr>
              <a:t>KOBİ Uzmanı</a:t>
            </a:r>
            <a:endParaRPr sz="4000" dirty="0">
              <a:latin typeface="Arial"/>
              <a:cs typeface="Arial"/>
            </a:endParaRPr>
          </a:p>
        </p:txBody>
      </p:sp>
    </p:spTree>
    <p:extLst>
      <p:ext uri="{BB962C8B-B14F-4D97-AF65-F5344CB8AC3E}">
        <p14:creationId xmlns:p14="http://schemas.microsoft.com/office/powerpoint/2010/main" val="3240405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Stripes_2"/>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rrow_POWER_USER_SEPARATOR_ICONS_direction_POWER_USER_SEPARATOR_ICONS_way_POWER_USER_SEPARATOR_ICONS_movement_POWER_USER_SEPARATOR_ICONS_point_POWER_USER_SEPARATOR_ICONS_sign_POWER_USER_SEPARATOR_ICONS_next_POWER_USER_SEPARATOR_ICONS_up_POWER_USER_SEPARATOR_ICONS_growth"/>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robotics*robotisation*automation*industry*fabrication*factory*plant*productivity*mechanics*productivism"/>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Wifi*connectivity*network*Internet*antenna*wireles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TotalTime>
  <Words>808</Words>
  <Application>Microsoft Office PowerPoint</Application>
  <PresentationFormat>Geniş ekran</PresentationFormat>
  <Paragraphs>179</Paragraphs>
  <Slides>9</Slides>
  <Notes>1</Notes>
  <HiddenSlides>0</HiddenSlides>
  <MMClips>0</MMClips>
  <ScaleCrop>false</ScaleCrop>
  <HeadingPairs>
    <vt:vector size="6" baseType="variant">
      <vt:variant>
        <vt:lpstr>Kullanılan Yazı Tipleri</vt:lpstr>
      </vt:variant>
      <vt:variant>
        <vt:i4>6</vt:i4>
      </vt:variant>
      <vt:variant>
        <vt:lpstr>Tema</vt:lpstr>
      </vt:variant>
      <vt:variant>
        <vt:i4>1</vt:i4>
      </vt:variant>
      <vt:variant>
        <vt:lpstr>Slayt Başlıkları</vt:lpstr>
      </vt:variant>
      <vt:variant>
        <vt:i4>9</vt:i4>
      </vt:variant>
    </vt:vector>
  </HeadingPairs>
  <TitlesOfParts>
    <vt:vector size="16" baseType="lpstr">
      <vt:lpstr>Arial</vt:lpstr>
      <vt:lpstr>Calibri</vt:lpstr>
      <vt:lpstr>Calibri Light</vt:lpstr>
      <vt:lpstr>Times New Roman</vt:lpstr>
      <vt:lpstr>Wingdings</vt:lpstr>
      <vt:lpstr>ヒラギノ角ゴ Pro W3</vt:lpstr>
      <vt:lpstr>Office Teması</vt:lpstr>
      <vt:lpstr>AR-GE, ÜR-GE VE İNOVASYON DESTEK PROGRAMI </vt:lpstr>
      <vt:lpstr>Ar-Ge, Ür-Ge ve İnovasyon Destek Programı 2021-01 Proje Teklif Çağrısı</vt:lpstr>
      <vt:lpstr>Ar-Ge, Ür-Ge ve İnovasyon Destek Programı 2021-01 Proje Teklif Çağrısı</vt:lpstr>
      <vt:lpstr>PowerPoint Sunusu</vt:lpstr>
      <vt:lpstr>Ar-Ge, Ür-Ge ve İnovasyon Destek Programı 2021-01 Proje Teklif Çağrısı</vt:lpstr>
      <vt:lpstr>Ar-Ge, Ür-Ge ve İnovasyon Destek Programı 2021-01 Proje Teklif Çağrısı</vt:lpstr>
      <vt:lpstr>Ar-Ge, Ür-Ge ve İnovasyon Destek Programı 2021-01 Proje Teklif Çağrısı</vt:lpstr>
      <vt:lpstr>Ar-Ge, Ür-Ge ve İnovasyon Destek Programı 2021-01 Proje Teklif Çağrısı</vt:lpstr>
      <vt:lpstr>Teşekkürler  H.Oytun YALÇINKAYA KOBİ Uzman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GE, ÜR-GE VE İNOVASYON DESTEK PROGRAMI</dc:title>
  <dc:creator>HATİCE OYTUN YALÇINKAYA</dc:creator>
  <cp:lastModifiedBy>HATİCE OYTUN YALÇINKAYA</cp:lastModifiedBy>
  <cp:revision>19</cp:revision>
  <dcterms:created xsi:type="dcterms:W3CDTF">2021-04-14T21:25:08Z</dcterms:created>
  <dcterms:modified xsi:type="dcterms:W3CDTF">2021-04-14T23:11:29Z</dcterms:modified>
</cp:coreProperties>
</file>